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6.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4874" r:id="rId2"/>
    <p:sldMasterId id="2147484924" r:id="rId3"/>
    <p:sldMasterId id="2147484927" r:id="rId4"/>
    <p:sldMasterId id="2147484935" r:id="rId5"/>
  </p:sldMasterIdLst>
  <p:notesMasterIdLst>
    <p:notesMasterId r:id="rId20"/>
  </p:notesMasterIdLst>
  <p:sldIdLst>
    <p:sldId id="2103813174" r:id="rId6"/>
    <p:sldId id="2103813334" r:id="rId7"/>
    <p:sldId id="2147470518" r:id="rId8"/>
    <p:sldId id="2103813184" r:id="rId9"/>
    <p:sldId id="2147470502" r:id="rId10"/>
    <p:sldId id="2147470503" r:id="rId11"/>
    <p:sldId id="2147470501" r:id="rId12"/>
    <p:sldId id="2103813182" r:id="rId13"/>
    <p:sldId id="2147470511" r:id="rId14"/>
    <p:sldId id="2147470512" r:id="rId15"/>
    <p:sldId id="2147470519" r:id="rId16"/>
    <p:sldId id="2147470492" r:id="rId17"/>
    <p:sldId id="530" r:id="rId18"/>
    <p:sldId id="1343"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03813334"/>
            <p14:sldId id="2147470518"/>
          </p14:sldIdLst>
        </p14:section>
        <p14:section name="Intelligent Query Processing" id="{1288A27A-E649-41A1-B18E-66EA8061F488}">
          <p14:sldIdLst>
            <p14:sldId id="2103813184"/>
            <p14:sldId id="2147470502"/>
            <p14:sldId id="2147470503"/>
            <p14:sldId id="2147470501"/>
            <p14:sldId id="2103813182"/>
            <p14:sldId id="2147470511"/>
            <p14:sldId id="2147470512"/>
            <p14:sldId id="2147470519"/>
            <p14:sldId id="2147470492"/>
          </p14:sldIdLst>
        </p14:section>
        <p14:section name="Summary" id="{52C421DB-3256-4659-B3CF-5363399828F3}">
          <p14:sldIdLst>
            <p14:sldId id="530"/>
            <p14:sldId id="13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8000"/>
    <a:srgbClr val="75C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846" autoAdjust="0"/>
    <p:restoredTop sz="92708" autoAdjust="0"/>
  </p:normalViewPr>
  <p:slideViewPr>
    <p:cSldViewPr snapToGrid="0">
      <p:cViewPr varScale="1">
        <p:scale>
          <a:sx n="69" d="100"/>
          <a:sy n="69" d="100"/>
        </p:scale>
        <p:origin x="340" y="5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06B0F420-A2DD-4C38-8943-E47A75976368}">
      <dgm:prSet custT="1"/>
      <dgm:spPr/>
      <dgm:t>
        <a:bodyPr/>
        <a:lstStyle/>
        <a:p>
          <a:r>
            <a:rPr lang="en-US" sz="2400" b="1" dirty="0"/>
            <a:t>An Overview of Intelligent Query Processing?</a:t>
          </a:r>
        </a:p>
      </dgm:t>
    </dgm:pt>
    <dgm:pt modelId="{DDA18201-CAF4-4AF1-9209-D0B1EDB8C3BE}" type="parTrans" cxnId="{3FA7F744-0946-4746-A94D-B3B0F3AB4289}">
      <dgm:prSet/>
      <dgm:spPr/>
      <dgm:t>
        <a:bodyPr/>
        <a:lstStyle/>
        <a:p>
          <a:endParaRPr lang="en-US"/>
        </a:p>
      </dgm:t>
    </dgm:pt>
    <dgm:pt modelId="{48F85F08-174A-488C-AB7D-4915668FD800}" type="sibTrans" cxnId="{3FA7F744-0946-4746-A94D-B3B0F3AB4289}">
      <dgm:prSet/>
      <dgm:spPr/>
      <dgm:t>
        <a:bodyPr/>
        <a:lstStyle/>
        <a:p>
          <a:endParaRPr lang="en-US"/>
        </a:p>
      </dgm:t>
    </dgm:pt>
    <dgm:pt modelId="{48208E93-0ED2-4783-A420-DF569AB92630}">
      <dgm:prSet custT="1"/>
      <dgm:spPr/>
      <dgm:t>
        <a:bodyPr/>
        <a:lstStyle/>
        <a:p>
          <a:r>
            <a:rPr lang="en-US" sz="2400" b="1" dirty="0"/>
            <a:t>Enabling and Disabling Features</a:t>
          </a:r>
        </a:p>
      </dgm:t>
    </dgm:pt>
    <dgm:pt modelId="{7A75F61A-27C1-4581-933A-59EBB710BD5D}" type="parTrans" cxnId="{712E8F45-742F-4A07-8BBB-568F5A2EC5E9}">
      <dgm:prSet/>
      <dgm:spPr/>
      <dgm:t>
        <a:bodyPr/>
        <a:lstStyle/>
        <a:p>
          <a:endParaRPr lang="en-US"/>
        </a:p>
      </dgm:t>
    </dgm:pt>
    <dgm:pt modelId="{62759427-9436-43B2-BD24-3EAC37DD7971}" type="sibTrans" cxnId="{712E8F45-742F-4A07-8BBB-568F5A2EC5E9}">
      <dgm:prSet/>
      <dgm:spPr/>
      <dgm:t>
        <a:bodyPr/>
        <a:lstStyle/>
        <a:p>
          <a:endParaRPr lang="en-US"/>
        </a:p>
      </dgm:t>
    </dgm:pt>
    <dgm:pt modelId="{E5E3AD40-E290-4C16-8160-786E2DBC32AA}">
      <dgm:prSet custT="1"/>
      <dgm:spPr/>
      <dgm:t>
        <a:bodyPr/>
        <a:lstStyle/>
        <a:p>
          <a:r>
            <a:rPr lang="en-US" sz="2400" b="1" dirty="0"/>
            <a:t>What is Optimized Plan Forcing?</a:t>
          </a:r>
        </a:p>
      </dgm:t>
    </dgm:pt>
    <dgm:pt modelId="{A1B78B65-ECEB-4F48-A41A-F10C8544569E}" type="parTrans" cxnId="{7F8EB2E6-0AE4-4E94-B6D5-58320CAC2AF2}">
      <dgm:prSet/>
      <dgm:spPr/>
      <dgm:t>
        <a:bodyPr/>
        <a:lstStyle/>
        <a:p>
          <a:endParaRPr lang="en-US"/>
        </a:p>
      </dgm:t>
    </dgm:pt>
    <dgm:pt modelId="{34468533-9F93-4C2B-8481-66F40E039091}" type="sibTrans" cxnId="{7F8EB2E6-0AE4-4E94-B6D5-58320CAC2AF2}">
      <dgm:prSet/>
      <dgm:spPr/>
      <dgm:t>
        <a:bodyPr/>
        <a:lstStyle/>
        <a:p>
          <a:endParaRPr lang="en-US"/>
        </a:p>
      </dgm:t>
    </dgm:pt>
    <dgm:pt modelId="{AA049B1A-43DA-402A-9514-2D578C105233}">
      <dgm:prSet custT="1"/>
      <dgm:spPr/>
      <dgm:t>
        <a:bodyPr/>
        <a:lstStyle/>
        <a:p>
          <a:r>
            <a:rPr lang="en-US" sz="2400" b="1" dirty="0"/>
            <a:t>Demonstration</a:t>
          </a:r>
        </a:p>
      </dgm:t>
    </dgm:pt>
    <dgm:pt modelId="{FD00A25E-8D8E-4853-AEB6-E54142981A0E}" type="parTrans" cxnId="{63DCEBD1-2190-4EA8-AE39-69444BC52ECD}">
      <dgm:prSet/>
      <dgm:spPr/>
      <dgm:t>
        <a:bodyPr/>
        <a:lstStyle/>
        <a:p>
          <a:endParaRPr lang="en-US"/>
        </a:p>
      </dgm:t>
    </dgm:pt>
    <dgm:pt modelId="{BABF57AF-C501-4543-9DD0-9E768BF2DE5A}" type="sibTrans" cxnId="{63DCEBD1-2190-4EA8-AE39-69444BC52ECD}">
      <dgm:prSet/>
      <dgm:spPr/>
      <dgm:t>
        <a:bodyPr/>
        <a:lstStyle/>
        <a:p>
          <a:endParaRPr lang="en-US"/>
        </a:p>
      </dgm:t>
    </dgm:pt>
    <dgm:pt modelId="{811B5D52-89C6-4ADA-98E4-5D00A32367D3}" type="pres">
      <dgm:prSet presAssocID="{86EB11C7-8E35-496E-8BBA-B5FE5C2DA876}" presName="linear" presStyleCnt="0">
        <dgm:presLayoutVars>
          <dgm:animLvl val="lvl"/>
          <dgm:resizeHandles val="exact"/>
        </dgm:presLayoutVars>
      </dgm:prSet>
      <dgm:spPr/>
    </dgm:pt>
    <dgm:pt modelId="{92FF7EA9-1E01-4FFE-84FF-2108C119A703}" type="pres">
      <dgm:prSet presAssocID="{06B0F420-A2DD-4C38-8943-E47A75976368}" presName="parentText" presStyleLbl="node1" presStyleIdx="0" presStyleCnt="4">
        <dgm:presLayoutVars>
          <dgm:chMax val="0"/>
          <dgm:bulletEnabled val="1"/>
        </dgm:presLayoutVars>
      </dgm:prSet>
      <dgm:spPr/>
    </dgm:pt>
    <dgm:pt modelId="{FF3568EE-C689-41FB-AF6A-7DDE495F3BDC}" type="pres">
      <dgm:prSet presAssocID="{48F85F08-174A-488C-AB7D-4915668FD800}" presName="spacer" presStyleCnt="0"/>
      <dgm:spPr/>
    </dgm:pt>
    <dgm:pt modelId="{B3FF4F94-AFF8-45A0-8726-E9EEAE2647AC}" type="pres">
      <dgm:prSet presAssocID="{48208E93-0ED2-4783-A420-DF569AB92630}" presName="parentText" presStyleLbl="node1" presStyleIdx="1" presStyleCnt="4">
        <dgm:presLayoutVars>
          <dgm:chMax val="0"/>
          <dgm:bulletEnabled val="1"/>
        </dgm:presLayoutVars>
      </dgm:prSet>
      <dgm:spPr/>
    </dgm:pt>
    <dgm:pt modelId="{7B4EECE6-C2D4-49CA-8358-19E0AD11F8BD}" type="pres">
      <dgm:prSet presAssocID="{62759427-9436-43B2-BD24-3EAC37DD7971}" presName="spacer" presStyleCnt="0"/>
      <dgm:spPr/>
    </dgm:pt>
    <dgm:pt modelId="{6FA26E25-59B6-46AF-B682-722BA7826235}" type="pres">
      <dgm:prSet presAssocID="{E5E3AD40-E290-4C16-8160-786E2DBC32AA}" presName="parentText" presStyleLbl="node1" presStyleIdx="2" presStyleCnt="4">
        <dgm:presLayoutVars>
          <dgm:chMax val="0"/>
          <dgm:bulletEnabled val="1"/>
        </dgm:presLayoutVars>
      </dgm:prSet>
      <dgm:spPr/>
    </dgm:pt>
    <dgm:pt modelId="{72C243B8-BA8B-4729-B82E-4B3F84C7F811}" type="pres">
      <dgm:prSet presAssocID="{34468533-9F93-4C2B-8481-66F40E039091}" presName="spacer" presStyleCnt="0"/>
      <dgm:spPr/>
    </dgm:pt>
    <dgm:pt modelId="{06A6BAF2-CEC0-49FA-AEC5-EA456C95C9BB}" type="pres">
      <dgm:prSet presAssocID="{AA049B1A-43DA-402A-9514-2D578C105233}" presName="parentText" presStyleLbl="node1" presStyleIdx="3" presStyleCnt="4">
        <dgm:presLayoutVars>
          <dgm:chMax val="0"/>
          <dgm:bulletEnabled val="1"/>
        </dgm:presLayoutVars>
      </dgm:prSet>
      <dgm:spPr/>
    </dgm:pt>
  </dgm:ptLst>
  <dgm:cxnLst>
    <dgm:cxn modelId="{51311304-619B-4893-BC52-86905EE054A5}" type="presOf" srcId="{86EB11C7-8E35-496E-8BBA-B5FE5C2DA876}" destId="{811B5D52-89C6-4ADA-98E4-5D00A32367D3}" srcOrd="0" destOrd="0" presId="urn:microsoft.com/office/officeart/2005/8/layout/vList2"/>
    <dgm:cxn modelId="{41472C2F-6A57-4A58-BBBA-4622B7D71CEF}" type="presOf" srcId="{AA049B1A-43DA-402A-9514-2D578C105233}" destId="{06A6BAF2-CEC0-49FA-AEC5-EA456C95C9BB}" srcOrd="0" destOrd="0" presId="urn:microsoft.com/office/officeart/2005/8/layout/vList2"/>
    <dgm:cxn modelId="{3FA7F744-0946-4746-A94D-B3B0F3AB4289}" srcId="{86EB11C7-8E35-496E-8BBA-B5FE5C2DA876}" destId="{06B0F420-A2DD-4C38-8943-E47A75976368}" srcOrd="0" destOrd="0" parTransId="{DDA18201-CAF4-4AF1-9209-D0B1EDB8C3BE}" sibTransId="{48F85F08-174A-488C-AB7D-4915668FD800}"/>
    <dgm:cxn modelId="{712E8F45-742F-4A07-8BBB-568F5A2EC5E9}" srcId="{86EB11C7-8E35-496E-8BBA-B5FE5C2DA876}" destId="{48208E93-0ED2-4783-A420-DF569AB92630}" srcOrd="1" destOrd="0" parTransId="{7A75F61A-27C1-4581-933A-59EBB710BD5D}" sibTransId="{62759427-9436-43B2-BD24-3EAC37DD7971}"/>
    <dgm:cxn modelId="{03E964A4-0096-48A5-B6DA-58241C03B623}" type="presOf" srcId="{06B0F420-A2DD-4C38-8943-E47A75976368}" destId="{92FF7EA9-1E01-4FFE-84FF-2108C119A703}" srcOrd="0" destOrd="0" presId="urn:microsoft.com/office/officeart/2005/8/layout/vList2"/>
    <dgm:cxn modelId="{9EC2D7A4-A5CD-4793-9678-A0B7FBC8904D}" type="presOf" srcId="{48208E93-0ED2-4783-A420-DF569AB92630}" destId="{B3FF4F94-AFF8-45A0-8726-E9EEAE2647AC}" srcOrd="0" destOrd="0" presId="urn:microsoft.com/office/officeart/2005/8/layout/vList2"/>
    <dgm:cxn modelId="{63DCEBD1-2190-4EA8-AE39-69444BC52ECD}" srcId="{86EB11C7-8E35-496E-8BBA-B5FE5C2DA876}" destId="{AA049B1A-43DA-402A-9514-2D578C105233}" srcOrd="3" destOrd="0" parTransId="{FD00A25E-8D8E-4853-AEB6-E54142981A0E}" sibTransId="{BABF57AF-C501-4543-9DD0-9E768BF2DE5A}"/>
    <dgm:cxn modelId="{7F8EB2E6-0AE4-4E94-B6D5-58320CAC2AF2}" srcId="{86EB11C7-8E35-496E-8BBA-B5FE5C2DA876}" destId="{E5E3AD40-E290-4C16-8160-786E2DBC32AA}" srcOrd="2" destOrd="0" parTransId="{A1B78B65-ECEB-4F48-A41A-F10C8544569E}" sibTransId="{34468533-9F93-4C2B-8481-66F40E039091}"/>
    <dgm:cxn modelId="{7A39F4ED-603C-4713-B10C-96DD84DD4CDE}" type="presOf" srcId="{E5E3AD40-E290-4C16-8160-786E2DBC32AA}" destId="{6FA26E25-59B6-46AF-B682-722BA7826235}" srcOrd="0" destOrd="0" presId="urn:microsoft.com/office/officeart/2005/8/layout/vList2"/>
    <dgm:cxn modelId="{946C2483-4797-4E96-8183-ADBCBD641362}" type="presParOf" srcId="{811B5D52-89C6-4ADA-98E4-5D00A32367D3}" destId="{92FF7EA9-1E01-4FFE-84FF-2108C119A703}" srcOrd="0" destOrd="0" presId="urn:microsoft.com/office/officeart/2005/8/layout/vList2"/>
    <dgm:cxn modelId="{11EC5E8C-DEE8-4234-AE9B-C0E08CDA4F79}" type="presParOf" srcId="{811B5D52-89C6-4ADA-98E4-5D00A32367D3}" destId="{FF3568EE-C689-41FB-AF6A-7DDE495F3BDC}" srcOrd="1" destOrd="0" presId="urn:microsoft.com/office/officeart/2005/8/layout/vList2"/>
    <dgm:cxn modelId="{A6A248A1-7ED4-4216-AD08-F578FEDC6761}" type="presParOf" srcId="{811B5D52-89C6-4ADA-98E4-5D00A32367D3}" destId="{B3FF4F94-AFF8-45A0-8726-E9EEAE2647AC}" srcOrd="2" destOrd="0" presId="urn:microsoft.com/office/officeart/2005/8/layout/vList2"/>
    <dgm:cxn modelId="{C97B5B91-8A2C-426E-84FF-C1954007E90B}" type="presParOf" srcId="{811B5D52-89C6-4ADA-98E4-5D00A32367D3}" destId="{7B4EECE6-C2D4-49CA-8358-19E0AD11F8BD}" srcOrd="3" destOrd="0" presId="urn:microsoft.com/office/officeart/2005/8/layout/vList2"/>
    <dgm:cxn modelId="{92E44A09-7106-4A66-86AF-FF274911466F}" type="presParOf" srcId="{811B5D52-89C6-4ADA-98E4-5D00A32367D3}" destId="{6FA26E25-59B6-46AF-B682-722BA7826235}" srcOrd="4" destOrd="0" presId="urn:microsoft.com/office/officeart/2005/8/layout/vList2"/>
    <dgm:cxn modelId="{50963EC7-27A1-4646-9134-0BCCA4663F69}" type="presParOf" srcId="{811B5D52-89C6-4ADA-98E4-5D00A32367D3}" destId="{72C243B8-BA8B-4729-B82E-4B3F84C7F811}" srcOrd="5" destOrd="0" presId="urn:microsoft.com/office/officeart/2005/8/layout/vList2"/>
    <dgm:cxn modelId="{9775F1BC-C0B7-473F-9F1F-0FC427280EB7}" type="presParOf" srcId="{811B5D52-89C6-4ADA-98E4-5D00A32367D3}" destId="{06A6BAF2-CEC0-49FA-AEC5-EA456C95C9B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2" qsCatId="simple" csTypeId="urn:microsoft.com/office/officeart/2005/8/colors/accent5_2" csCatId="accent5" phldr="1"/>
      <dgm:spPr/>
      <dgm:t>
        <a:bodyPr/>
        <a:lstStyle/>
        <a:p>
          <a:endParaRPr lang="en-US"/>
        </a:p>
      </dgm:t>
    </dgm:pt>
    <dgm:pt modelId="{FB9E8E93-E505-4F61-B986-63526300BB1E}">
      <dgm:prSet phldrT="[Text]" phldr="0" custT="1"/>
      <dgm:spPr/>
      <dgm:t>
        <a:bodyPr/>
        <a:lstStyle/>
        <a:p>
          <a:r>
            <a:rPr lang="en-US" sz="2400" b="0" i="0" dirty="0"/>
            <a:t>Query Compilation Replay</a:t>
          </a:r>
          <a:endParaRPr lang="en-US" sz="2400" b="1" dirty="0"/>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642BD30B-CE38-4DD5-BA97-D9FB463CAE50}">
      <dgm:prSet custT="1"/>
      <dgm:spPr/>
      <dgm:t>
        <a:bodyPr/>
        <a:lstStyle/>
        <a:p>
          <a:r>
            <a:rPr lang="en-US" sz="2400" dirty="0">
              <a:latin typeface="+mn-lt"/>
              <a:cs typeface="Segoe UI" panose="020B0502040204020203" pitchFamily="34" charset="0"/>
            </a:rPr>
            <a:t>Targets previously forced plans through Query Store and Automatic Plan Correction</a:t>
          </a:r>
        </a:p>
      </dgm:t>
    </dgm:pt>
    <dgm:pt modelId="{5CD466C9-02F3-4368-B583-F7502EB4EAD5}" type="parTrans" cxnId="{21ED04DE-2D15-4E65-99A8-209386E0590B}">
      <dgm:prSet/>
      <dgm:spPr/>
      <dgm:t>
        <a:bodyPr/>
        <a:lstStyle/>
        <a:p>
          <a:endParaRPr lang="en-US"/>
        </a:p>
      </dgm:t>
    </dgm:pt>
    <dgm:pt modelId="{63C8D2D5-78EB-49FE-95A8-9892F14CC72B}" type="sibTrans" cxnId="{21ED04DE-2D15-4E65-99A8-209386E0590B}">
      <dgm:prSet/>
      <dgm:spPr/>
      <dgm:t>
        <a:bodyPr/>
        <a:lstStyle/>
        <a:p>
          <a:endParaRPr lang="en-US"/>
        </a:p>
      </dgm:t>
    </dgm:pt>
    <dgm:pt modelId="{2657701A-F368-4CB4-84F6-0A412F0FE3E3}">
      <dgm:prSet custT="1"/>
      <dgm:spPr/>
      <dgm:t>
        <a:bodyPr/>
        <a:lstStyle/>
        <a:p>
          <a:r>
            <a:rPr lang="en-US" sz="2400" b="0" i="0" dirty="0">
              <a:latin typeface="+mn-lt"/>
            </a:rPr>
            <a:t>Uses those previously-recorded CRS to quickly reproduce and cache the original forced plan </a:t>
          </a:r>
          <a:r>
            <a:rPr lang="en-US" sz="2400" b="1" i="0" dirty="0">
              <a:latin typeface="+mn-lt"/>
            </a:rPr>
            <a:t>at a fraction of the original compilation cost</a:t>
          </a:r>
          <a:endParaRPr lang="en-US" sz="2400" dirty="0">
            <a:latin typeface="+mn-lt"/>
            <a:cs typeface="Segoe UI" panose="020B0502040204020203" pitchFamily="34" charset="0"/>
          </a:endParaRPr>
        </a:p>
      </dgm:t>
    </dgm:pt>
    <dgm:pt modelId="{C529AB4E-80E5-41F9-B664-0CBBE969FB10}" type="parTrans" cxnId="{9D02D6E2-F72B-4D62-AA14-7839F661CA48}">
      <dgm:prSet/>
      <dgm:spPr/>
      <dgm:t>
        <a:bodyPr/>
        <a:lstStyle/>
        <a:p>
          <a:endParaRPr lang="en-US"/>
        </a:p>
      </dgm:t>
    </dgm:pt>
    <dgm:pt modelId="{6B96CFE7-0A64-4AEA-A9A1-F2F1DAA7ADC7}" type="sibTrans" cxnId="{9D02D6E2-F72B-4D62-AA14-7839F661CA48}">
      <dgm:prSet/>
      <dgm:spPr/>
      <dgm:t>
        <a:bodyPr/>
        <a:lstStyle/>
        <a:p>
          <a:endParaRPr lang="en-US"/>
        </a:p>
      </dgm:t>
    </dgm:pt>
    <dgm:pt modelId="{ACE6C81C-234F-49AA-B3E2-AC75F6560ACF}">
      <dgm:prSet custT="1"/>
      <dgm:spPr/>
      <dgm:t>
        <a:bodyPr/>
        <a:lstStyle/>
        <a:p>
          <a:r>
            <a:rPr lang="en-US" sz="2400" dirty="0">
              <a:latin typeface="+mn-lt"/>
              <a:cs typeface="Segoe UI" panose="020B0502040204020203" pitchFamily="34" charset="0"/>
            </a:rPr>
            <a:t>Compatible with Query Store hints and secondary replica support</a:t>
          </a:r>
        </a:p>
      </dgm:t>
    </dgm:pt>
    <dgm:pt modelId="{71E440FC-E339-4915-9DFB-4A02089B3966}" type="parTrans" cxnId="{96607763-6C94-4B3E-8B37-ED11233BFEC7}">
      <dgm:prSet/>
      <dgm:spPr/>
      <dgm:t>
        <a:bodyPr/>
        <a:lstStyle/>
        <a:p>
          <a:endParaRPr lang="en-US"/>
        </a:p>
      </dgm:t>
    </dgm:pt>
    <dgm:pt modelId="{5AC5B8C6-948B-4C0F-A75E-21B824B4598F}" type="sibTrans" cxnId="{96607763-6C94-4B3E-8B37-ED11233BFEC7}">
      <dgm:prSet/>
      <dgm:spPr/>
      <dgm:t>
        <a:bodyPr/>
        <a:lstStyle/>
        <a:p>
          <a:endParaRPr lang="en-US"/>
        </a:p>
      </dgm:t>
    </dgm:pt>
    <dgm:pt modelId="{4430DAFE-8FCC-4C60-AD68-AE79325175E0}">
      <dgm:prSet phldrT="[Text]" phldr="0" custT="1"/>
      <dgm:spPr/>
      <dgm:t>
        <a:bodyPr/>
        <a:lstStyle/>
        <a:p>
          <a:r>
            <a:rPr lang="en-US" sz="2400" b="0" i="0" dirty="0">
              <a:latin typeface="+mn-lt"/>
            </a:rPr>
            <a:t>Stores a </a:t>
          </a:r>
          <a:r>
            <a:rPr lang="en-US" sz="2400" b="0" i="1" dirty="0">
              <a:latin typeface="+mn-lt"/>
            </a:rPr>
            <a:t>compilation replay script </a:t>
          </a:r>
          <a:r>
            <a:rPr lang="en-US" sz="2400" b="0" i="0" dirty="0">
              <a:latin typeface="+mn-lt"/>
            </a:rPr>
            <a:t>(CRS) that persists key compilation steps in Query Store.</a:t>
          </a:r>
          <a:endParaRPr lang="en-US" sz="2400" b="1" dirty="0">
            <a:latin typeface="+mn-lt"/>
          </a:endParaRPr>
        </a:p>
      </dgm:t>
    </dgm:pt>
    <dgm:pt modelId="{A8D99809-FC3F-4C9A-94AB-0ADE76DBDAF9}" type="parTrans" cxnId="{F2522B53-4B7A-4C10-9117-8717487DAE73}">
      <dgm:prSet/>
      <dgm:spPr/>
      <dgm:t>
        <a:bodyPr/>
        <a:lstStyle/>
        <a:p>
          <a:endParaRPr lang="en-US"/>
        </a:p>
      </dgm:t>
    </dgm:pt>
    <dgm:pt modelId="{6C71C08A-B557-45ED-B98E-4BEC67F0DF89}" type="sibTrans" cxnId="{F2522B53-4B7A-4C10-9117-8717487DAE73}">
      <dgm:prSet/>
      <dgm:spPr/>
      <dgm:t>
        <a:bodyPr/>
        <a:lstStyle/>
        <a:p>
          <a:endParaRPr lang="en-US"/>
        </a:p>
      </dgm:t>
    </dgm:pt>
    <dgm:pt modelId="{734CD14E-88FC-4A98-A844-2F22DC6759CB}">
      <dgm:prSet phldrT="[Text]" phldr="0" custT="1"/>
      <dgm:spPr/>
      <dgm:t>
        <a:bodyPr/>
        <a:lstStyle/>
        <a:p>
          <a:r>
            <a:rPr lang="en-US" sz="2400" b="0" i="0" dirty="0">
              <a:latin typeface="+mn-lt"/>
            </a:rPr>
            <a:t>Stored in the hidden Optimization Replay attribute of the XML plan.</a:t>
          </a:r>
          <a:endParaRPr lang="en-US" sz="2400" b="1" dirty="0">
            <a:latin typeface="+mn-lt"/>
          </a:endParaRPr>
        </a:p>
      </dgm:t>
    </dgm:pt>
    <dgm:pt modelId="{00E2F0D1-88C3-4B62-99CD-E7643DA37B6B}" type="sibTrans" cxnId="{8EF3D132-202E-4178-9E1D-393DDE53A737}">
      <dgm:prSet/>
      <dgm:spPr/>
      <dgm:t>
        <a:bodyPr/>
        <a:lstStyle/>
        <a:p>
          <a:endParaRPr lang="en-US"/>
        </a:p>
      </dgm:t>
    </dgm:pt>
    <dgm:pt modelId="{40FDFE0A-6ADA-476B-AFF9-DB5850B619EA}" type="parTrans" cxnId="{8EF3D132-202E-4178-9E1D-393DDE53A737}">
      <dgm:prSet/>
      <dgm:spPr/>
      <dgm:t>
        <a:bodyPr/>
        <a:lstStyle/>
        <a:p>
          <a:endParaRPr lang="en-US"/>
        </a:p>
      </dgm:t>
    </dgm:pt>
    <dgm:pt modelId="{41E13F47-50B0-4C65-9F4A-F4669980A3D3}" type="pres">
      <dgm:prSet presAssocID="{5CAC6E89-8D61-41CE-B485-D446E81BC557}" presName="linear" presStyleCnt="0">
        <dgm:presLayoutVars>
          <dgm:animLvl val="lvl"/>
          <dgm:resizeHandles val="exact"/>
        </dgm:presLayoutVars>
      </dgm:prSet>
      <dgm:spPr/>
    </dgm:pt>
    <dgm:pt modelId="{BC627420-5C6C-4D72-AEC0-56A4B040BD2E}" type="pres">
      <dgm:prSet presAssocID="{FB9E8E93-E505-4F61-B986-63526300BB1E}" presName="parentText" presStyleLbl="node1" presStyleIdx="0" presStyleCnt="1" custLinFactNeighborY="-28370">
        <dgm:presLayoutVars>
          <dgm:chMax val="0"/>
          <dgm:bulletEnabled val="1"/>
        </dgm:presLayoutVars>
      </dgm:prSet>
      <dgm:spPr/>
    </dgm:pt>
    <dgm:pt modelId="{AE3B6265-E121-46EA-BA53-EF8CA4BD0DB2}" type="pres">
      <dgm:prSet presAssocID="{FB9E8E93-E505-4F61-B986-63526300BB1E}" presName="childText" presStyleLbl="revTx" presStyleIdx="0" presStyleCnt="1" custScaleY="104373" custLinFactNeighborX="-625" custLinFactNeighborY="-12572">
        <dgm:presLayoutVars>
          <dgm:bulletEnabled val="1"/>
        </dgm:presLayoutVars>
      </dgm:prSet>
      <dgm:spPr/>
    </dgm:pt>
  </dgm:ptLst>
  <dgm:cxnLst>
    <dgm:cxn modelId="{FBB0FD00-6AFD-4707-BA3F-A79158FA01F4}" type="presOf" srcId="{4430DAFE-8FCC-4C60-AD68-AE79325175E0}" destId="{AE3B6265-E121-46EA-BA53-EF8CA4BD0DB2}" srcOrd="0" destOrd="0" presId="urn:microsoft.com/office/officeart/2005/8/layout/vList2"/>
    <dgm:cxn modelId="{59AEBA0D-3AAB-4B1D-B375-0A4DB038200D}" type="presOf" srcId="{734CD14E-88FC-4A98-A844-2F22DC6759CB}" destId="{AE3B6265-E121-46EA-BA53-EF8CA4BD0DB2}" srcOrd="0" destOrd="1" presId="urn:microsoft.com/office/officeart/2005/8/layout/vList2"/>
    <dgm:cxn modelId="{8EF3D132-202E-4178-9E1D-393DDE53A737}" srcId="{FB9E8E93-E505-4F61-B986-63526300BB1E}" destId="{734CD14E-88FC-4A98-A844-2F22DC6759CB}" srcOrd="1" destOrd="0" parTransId="{40FDFE0A-6ADA-476B-AFF9-DB5850B619EA}" sibTransId="{00E2F0D1-88C3-4B62-99CD-E7643DA37B6B}"/>
    <dgm:cxn modelId="{3DBBD937-C353-43AE-91B6-66F4D1AACBE2}" type="presOf" srcId="{2657701A-F368-4CB4-84F6-0A412F0FE3E3}" destId="{AE3B6265-E121-46EA-BA53-EF8CA4BD0DB2}" srcOrd="0" destOrd="3" presId="urn:microsoft.com/office/officeart/2005/8/layout/vList2"/>
    <dgm:cxn modelId="{96607763-6C94-4B3E-8B37-ED11233BFEC7}" srcId="{FB9E8E93-E505-4F61-B986-63526300BB1E}" destId="{ACE6C81C-234F-49AA-B3E2-AC75F6560ACF}" srcOrd="4" destOrd="0" parTransId="{71E440FC-E339-4915-9DFB-4A02089B3966}" sibTransId="{5AC5B8C6-948B-4C0F-A75E-21B824B4598F}"/>
    <dgm:cxn modelId="{50B68244-667E-4A60-9DBF-40708B2B7104}" srcId="{5CAC6E89-8D61-41CE-B485-D446E81BC557}" destId="{FB9E8E93-E505-4F61-B986-63526300BB1E}" srcOrd="0" destOrd="0" parTransId="{0A28C454-11D4-48BA-B856-5DF1A51C6CA8}" sibTransId="{D0DB3B49-9806-45F0-815F-F683F3A245D5}"/>
    <dgm:cxn modelId="{CA8E6046-1A0D-40AD-98CD-CF4AB8AFFAFE}" type="presOf" srcId="{642BD30B-CE38-4DD5-BA97-D9FB463CAE50}" destId="{AE3B6265-E121-46EA-BA53-EF8CA4BD0DB2}" srcOrd="0" destOrd="2" presId="urn:microsoft.com/office/officeart/2005/8/layout/vList2"/>
    <dgm:cxn modelId="{F6BD1953-A79C-422E-BEFF-FD7DE641614F}" type="presOf" srcId="{5CAC6E89-8D61-41CE-B485-D446E81BC557}" destId="{41E13F47-50B0-4C65-9F4A-F4669980A3D3}" srcOrd="0" destOrd="0" presId="urn:microsoft.com/office/officeart/2005/8/layout/vList2"/>
    <dgm:cxn modelId="{F2522B53-4B7A-4C10-9117-8717487DAE73}" srcId="{FB9E8E93-E505-4F61-B986-63526300BB1E}" destId="{4430DAFE-8FCC-4C60-AD68-AE79325175E0}" srcOrd="0" destOrd="0" parTransId="{A8D99809-FC3F-4C9A-94AB-0ADE76DBDAF9}" sibTransId="{6C71C08A-B557-45ED-B98E-4BEC67F0DF89}"/>
    <dgm:cxn modelId="{EE5B4DC1-FB41-4129-A702-0D9750900077}" type="presOf" srcId="{ACE6C81C-234F-49AA-B3E2-AC75F6560ACF}" destId="{AE3B6265-E121-46EA-BA53-EF8CA4BD0DB2}" srcOrd="0" destOrd="4" presId="urn:microsoft.com/office/officeart/2005/8/layout/vList2"/>
    <dgm:cxn modelId="{21ED04DE-2D15-4E65-99A8-209386E0590B}" srcId="{FB9E8E93-E505-4F61-B986-63526300BB1E}" destId="{642BD30B-CE38-4DD5-BA97-D9FB463CAE50}" srcOrd="2" destOrd="0" parTransId="{5CD466C9-02F3-4368-B583-F7502EB4EAD5}" sibTransId="{63C8D2D5-78EB-49FE-95A8-9892F14CC72B}"/>
    <dgm:cxn modelId="{9D02D6E2-F72B-4D62-AA14-7839F661CA48}" srcId="{FB9E8E93-E505-4F61-B986-63526300BB1E}" destId="{2657701A-F368-4CB4-84F6-0A412F0FE3E3}" srcOrd="3" destOrd="0" parTransId="{C529AB4E-80E5-41F9-B664-0CBBE969FB10}" sibTransId="{6B96CFE7-0A64-4AEA-A9A1-F2F1DAA7ADC7}"/>
    <dgm:cxn modelId="{A93E15F7-D02E-4DB6-9D10-403592A79968}" type="presOf" srcId="{FB9E8E93-E505-4F61-B986-63526300BB1E}" destId="{BC627420-5C6C-4D72-AEC0-56A4B040BD2E}" srcOrd="0" destOrd="0" presId="urn:microsoft.com/office/officeart/2005/8/layout/vList2"/>
    <dgm:cxn modelId="{57E9F589-0EEC-4026-B97E-F82EA7F56083}" type="presParOf" srcId="{41E13F47-50B0-4C65-9F4A-F4669980A3D3}" destId="{BC627420-5C6C-4D72-AEC0-56A4B040BD2E}" srcOrd="0" destOrd="0" presId="urn:microsoft.com/office/officeart/2005/8/layout/vList2"/>
    <dgm:cxn modelId="{355D96A3-88EE-4C8B-A344-E9252E094B3D}" type="presParOf" srcId="{41E13F47-50B0-4C65-9F4A-F4669980A3D3}" destId="{AE3B6265-E121-46EA-BA53-EF8CA4BD0DB2}" srcOrd="1"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2" qsCatId="simple" csTypeId="urn:microsoft.com/office/officeart/2005/8/colors/accent5_2" csCatId="accent5" phldr="1"/>
      <dgm:spPr/>
      <dgm:t>
        <a:bodyPr/>
        <a:lstStyle/>
        <a:p>
          <a:endParaRPr lang="en-US"/>
        </a:p>
      </dgm:t>
    </dgm:pt>
    <dgm:pt modelId="{664114E4-3B20-49B8-AD68-D588B67721BB}">
      <dgm:prSet custT="1"/>
      <dgm:spPr/>
      <dgm:t>
        <a:bodyPr/>
        <a:lstStyle/>
        <a:p>
          <a:r>
            <a:rPr lang="en-US" sz="2400" dirty="0">
              <a:latin typeface="+mn-lt"/>
              <a:cs typeface="Segoe UI" panose="020B0502040204020203" pitchFamily="34" charset="0"/>
            </a:rPr>
            <a:t>Considerations</a:t>
          </a:r>
        </a:p>
      </dgm:t>
    </dgm:pt>
    <dgm:pt modelId="{6F073408-3615-4A22-A0E2-74BF8A1EF201}" type="parTrans" cxnId="{F4638DD7-F864-4CEF-817B-260E87A6D89A}">
      <dgm:prSet/>
      <dgm:spPr/>
      <dgm:t>
        <a:bodyPr/>
        <a:lstStyle/>
        <a:p>
          <a:endParaRPr lang="en-US"/>
        </a:p>
      </dgm:t>
    </dgm:pt>
    <dgm:pt modelId="{689141C5-203A-45D8-8AF6-D10FC7AE1C69}" type="sibTrans" cxnId="{F4638DD7-F864-4CEF-817B-260E87A6D89A}">
      <dgm:prSet/>
      <dgm:spPr/>
      <dgm:t>
        <a:bodyPr/>
        <a:lstStyle/>
        <a:p>
          <a:endParaRPr lang="en-US"/>
        </a:p>
      </dgm:t>
    </dgm:pt>
    <dgm:pt modelId="{6C8889B9-AE26-4B7E-A3D8-519FD1ECDB01}">
      <dgm:prSet custT="1"/>
      <dgm:spPr/>
      <dgm:t>
        <a:bodyPr/>
        <a:lstStyle/>
        <a:p>
          <a:pPr>
            <a:buFont typeface="Arial" panose="020B0604020202020204" pitchFamily="34" charset="0"/>
            <a:buChar char="•"/>
          </a:pPr>
          <a:r>
            <a:rPr lang="en-US" sz="2400" b="0" i="0" dirty="0"/>
            <a:t> Only query plans that go through full optimization are eligible, which can be verified by the presence of the </a:t>
          </a:r>
          <a:r>
            <a:rPr lang="en-US" sz="2400" b="0" i="0" dirty="0" err="1"/>
            <a:t>StatementOptmLevel</a:t>
          </a:r>
          <a:r>
            <a:rPr lang="en-US" sz="2400" b="0" i="0" dirty="0"/>
            <a:t>="FULL" property.</a:t>
          </a:r>
          <a:endParaRPr lang="en-US" sz="2400" dirty="0">
            <a:latin typeface="+mn-lt"/>
            <a:cs typeface="Segoe UI" panose="020B0502040204020203" pitchFamily="34" charset="0"/>
          </a:endParaRPr>
        </a:p>
      </dgm:t>
    </dgm:pt>
    <dgm:pt modelId="{67DAE75D-921E-4B2F-9C46-090B27574BE6}" type="parTrans" cxnId="{311AB490-A8FB-4CE0-AACB-AD898C31395A}">
      <dgm:prSet/>
      <dgm:spPr/>
      <dgm:t>
        <a:bodyPr/>
        <a:lstStyle/>
        <a:p>
          <a:endParaRPr lang="en-US"/>
        </a:p>
      </dgm:t>
    </dgm:pt>
    <dgm:pt modelId="{8F74DEEA-A8B6-4918-AB66-2C8012988147}" type="sibTrans" cxnId="{311AB490-A8FB-4CE0-AACB-AD898C31395A}">
      <dgm:prSet/>
      <dgm:spPr/>
      <dgm:t>
        <a:bodyPr/>
        <a:lstStyle/>
        <a:p>
          <a:endParaRPr lang="en-US"/>
        </a:p>
      </dgm:t>
    </dgm:pt>
    <dgm:pt modelId="{508F428D-0F87-4636-9D1E-26687CE6371D}">
      <dgm:prSet custT="1"/>
      <dgm:spPr/>
      <dgm:t>
        <a:bodyPr/>
        <a:lstStyle/>
        <a:p>
          <a:pPr>
            <a:buFont typeface="Arial" panose="020B0604020202020204" pitchFamily="34" charset="0"/>
            <a:buChar char="•"/>
          </a:pPr>
          <a:r>
            <a:rPr lang="en-US" sz="2400" b="0" i="0" dirty="0"/>
            <a:t> Statements with RECOMPILE hint and distributed queries are not eligible.</a:t>
          </a:r>
        </a:p>
      </dgm:t>
    </dgm:pt>
    <dgm:pt modelId="{304E1D0A-F29A-4988-B3A1-94A8B94CA77F}" type="parTrans" cxnId="{60FA3909-350E-40D3-A026-B9C45BBAFA29}">
      <dgm:prSet/>
      <dgm:spPr/>
      <dgm:t>
        <a:bodyPr/>
        <a:lstStyle/>
        <a:p>
          <a:endParaRPr lang="en-US"/>
        </a:p>
      </dgm:t>
    </dgm:pt>
    <dgm:pt modelId="{1E821A4F-B2F7-49F3-B87E-902D3B057872}" type="sibTrans" cxnId="{60FA3909-350E-40D3-A026-B9C45BBAFA29}">
      <dgm:prSet/>
      <dgm:spPr/>
      <dgm:t>
        <a:bodyPr/>
        <a:lstStyle/>
        <a:p>
          <a:endParaRPr lang="en-US"/>
        </a:p>
      </dgm:t>
    </dgm:pt>
    <dgm:pt modelId="{41E13F47-50B0-4C65-9F4A-F4669980A3D3}" type="pres">
      <dgm:prSet presAssocID="{5CAC6E89-8D61-41CE-B485-D446E81BC557}" presName="linear" presStyleCnt="0">
        <dgm:presLayoutVars>
          <dgm:animLvl val="lvl"/>
          <dgm:resizeHandles val="exact"/>
        </dgm:presLayoutVars>
      </dgm:prSet>
      <dgm:spPr/>
    </dgm:pt>
    <dgm:pt modelId="{110619E6-35CF-4F1E-B47B-52C04D4F0756}" type="pres">
      <dgm:prSet presAssocID="{664114E4-3B20-49B8-AD68-D588B67721BB}" presName="parentText" presStyleLbl="node1" presStyleIdx="0" presStyleCnt="1" custLinFactY="-6226" custLinFactNeighborX="-625" custLinFactNeighborY="-100000">
        <dgm:presLayoutVars>
          <dgm:chMax val="0"/>
          <dgm:bulletEnabled val="1"/>
        </dgm:presLayoutVars>
      </dgm:prSet>
      <dgm:spPr/>
    </dgm:pt>
    <dgm:pt modelId="{867817E1-5D9A-4EEB-A4C7-4819155E9A81}" type="pres">
      <dgm:prSet presAssocID="{664114E4-3B20-49B8-AD68-D588B67721BB}" presName="childText" presStyleLbl="revTx" presStyleIdx="0" presStyleCnt="1" custLinFactY="-3636" custLinFactNeighborX="-625" custLinFactNeighborY="-100000">
        <dgm:presLayoutVars>
          <dgm:bulletEnabled val="1"/>
        </dgm:presLayoutVars>
      </dgm:prSet>
      <dgm:spPr/>
    </dgm:pt>
  </dgm:ptLst>
  <dgm:cxnLst>
    <dgm:cxn modelId="{60FA3909-350E-40D3-A026-B9C45BBAFA29}" srcId="{664114E4-3B20-49B8-AD68-D588B67721BB}" destId="{508F428D-0F87-4636-9D1E-26687CE6371D}" srcOrd="1" destOrd="0" parTransId="{304E1D0A-F29A-4988-B3A1-94A8B94CA77F}" sibTransId="{1E821A4F-B2F7-49F3-B87E-902D3B057872}"/>
    <dgm:cxn modelId="{47132A4F-FCFB-4871-A497-193A758062E1}" type="presOf" srcId="{6C8889B9-AE26-4B7E-A3D8-519FD1ECDB01}" destId="{867817E1-5D9A-4EEB-A4C7-4819155E9A81}" srcOrd="0" destOrd="0" presId="urn:microsoft.com/office/officeart/2005/8/layout/vList2"/>
    <dgm:cxn modelId="{F6BD1953-A79C-422E-BEFF-FD7DE641614F}" type="presOf" srcId="{5CAC6E89-8D61-41CE-B485-D446E81BC557}" destId="{41E13F47-50B0-4C65-9F4A-F4669980A3D3}" srcOrd="0" destOrd="0" presId="urn:microsoft.com/office/officeart/2005/8/layout/vList2"/>
    <dgm:cxn modelId="{311AB490-A8FB-4CE0-AACB-AD898C31395A}" srcId="{664114E4-3B20-49B8-AD68-D588B67721BB}" destId="{6C8889B9-AE26-4B7E-A3D8-519FD1ECDB01}" srcOrd="0" destOrd="0" parTransId="{67DAE75D-921E-4B2F-9C46-090B27574BE6}" sibTransId="{8F74DEEA-A8B6-4918-AB66-2C8012988147}"/>
    <dgm:cxn modelId="{F4638DD7-F864-4CEF-817B-260E87A6D89A}" srcId="{5CAC6E89-8D61-41CE-B485-D446E81BC557}" destId="{664114E4-3B20-49B8-AD68-D588B67721BB}" srcOrd="0" destOrd="0" parTransId="{6F073408-3615-4A22-A0E2-74BF8A1EF201}" sibTransId="{689141C5-203A-45D8-8AF6-D10FC7AE1C69}"/>
    <dgm:cxn modelId="{94996EE8-578A-4CD3-A92B-6C3D0619D519}" type="presOf" srcId="{508F428D-0F87-4636-9D1E-26687CE6371D}" destId="{867817E1-5D9A-4EEB-A4C7-4819155E9A81}" srcOrd="0" destOrd="1" presId="urn:microsoft.com/office/officeart/2005/8/layout/vList2"/>
    <dgm:cxn modelId="{535047EE-535C-46F1-9462-9F336ED4C437}" type="presOf" srcId="{664114E4-3B20-49B8-AD68-D588B67721BB}" destId="{110619E6-35CF-4F1E-B47B-52C04D4F0756}" srcOrd="0" destOrd="0" presId="urn:microsoft.com/office/officeart/2005/8/layout/vList2"/>
    <dgm:cxn modelId="{69D682EA-52A4-4DAA-80CF-4585C4AB4C61}" type="presParOf" srcId="{41E13F47-50B0-4C65-9F4A-F4669980A3D3}" destId="{110619E6-35CF-4F1E-B47B-52C04D4F0756}" srcOrd="0" destOrd="0" presId="urn:microsoft.com/office/officeart/2005/8/layout/vList2"/>
    <dgm:cxn modelId="{D9BE74B7-2388-495E-832D-16C7B876DE50}" type="presParOf" srcId="{41E13F47-50B0-4C65-9F4A-F4669980A3D3}" destId="{867817E1-5D9A-4EEB-A4C7-4819155E9A81}" srcOrd="1"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FBC9B00A-14CA-4397-B5FB-6750AAD47715}" type="asst">
      <dgm:prSet phldrT="[Text]"/>
      <dgm:spPr>
        <a:solidFill>
          <a:schemeClr val="tx2">
            <a:lumMod val="60000"/>
            <a:lumOff val="40000"/>
          </a:schemeClr>
        </a:solidFill>
      </dgm:spPr>
      <dgm:t>
        <a:bodyPr/>
        <a:lstStyle/>
        <a:p>
          <a:r>
            <a:rPr lang="en-US" dirty="0"/>
            <a:t>Optimized Plan Forcing</a:t>
          </a:r>
        </a:p>
      </dgm:t>
    </dgm:pt>
    <dgm:pt modelId="{22BF445F-7280-4C2A-9692-149DB32535DC}" type="parTrans" cxnId="{73EA0900-CE13-4A51-AA57-A6BF879D4F96}">
      <dgm:prSet/>
      <dgm:spPr/>
      <dgm:t>
        <a:bodyPr/>
        <a:lstStyle/>
        <a:p>
          <a:endParaRPr lang="en-US"/>
        </a:p>
      </dgm:t>
    </dgm:pt>
    <dgm:pt modelId="{D6BE2072-7069-4A66-89FF-9E6F8768036C}" type="sibTrans" cxnId="{73EA0900-CE13-4A51-AA57-A6BF879D4F96}">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12BB4D1C-4932-4FB5-A5B3-D9E9B7872BE0}" type="pres">
      <dgm:prSet presAssocID="{22BF445F-7280-4C2A-9692-149DB32535DC}" presName="Name19" presStyleLbl="parChTrans1D2" presStyleIdx="5" presStyleCnt="7"/>
      <dgm:spPr/>
    </dgm:pt>
    <dgm:pt modelId="{52E6BFE2-0D95-4828-82AE-0FAC5EF08EAA}" type="pres">
      <dgm:prSet presAssocID="{FBC9B00A-14CA-4397-B5FB-6750AAD47715}" presName="Name21" presStyleCnt="0"/>
      <dgm:spPr/>
    </dgm:pt>
    <dgm:pt modelId="{11711BDA-6E88-4B70-AD55-C75947559D72}" type="pres">
      <dgm:prSet presAssocID="{FBC9B00A-14CA-4397-B5FB-6750AAD47715}" presName="level2Shape" presStyleLbl="asst1" presStyleIdx="6" presStyleCnt="8"/>
      <dgm:spPr/>
    </dgm:pt>
    <dgm:pt modelId="{8A1B2119-0194-4815-A48B-D904407BB993}" type="pres">
      <dgm:prSet presAssocID="{FBC9B00A-14CA-4397-B5FB-6750AAD47715}"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73EA0900-CE13-4A51-AA57-A6BF879D4F96}" srcId="{EC5624F3-2170-43DC-97A6-A153AC2072F1}" destId="{FBC9B00A-14CA-4397-B5FB-6750AAD47715}" srcOrd="5" destOrd="0" parTransId="{22BF445F-7280-4C2A-9692-149DB32535DC}" sibTransId="{D6BE2072-7069-4A66-89FF-9E6F8768036C}"/>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4829CA0D-52BF-4D2B-9B2A-5C25EEDAE0AE}" type="presOf" srcId="{FBC9B00A-14CA-4397-B5FB-6750AAD47715}" destId="{11711BDA-6E88-4B70-AD55-C75947559D72}"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742005E1-AB52-4AE9-9E95-F47D16A8694C}" type="presOf" srcId="{22BF445F-7280-4C2A-9692-149DB32535DC}" destId="{12BB4D1C-4932-4FB5-A5B3-D9E9B7872BE0}"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E6767E71-DE1E-46EA-A1BE-A1B784AFF457}" type="presParOf" srcId="{A65EEE17-B142-4395-9440-82681C1ADA87}" destId="{12BB4D1C-4932-4FB5-A5B3-D9E9B7872BE0}" srcOrd="10" destOrd="0" presId="urn:microsoft.com/office/officeart/2005/8/layout/hierarchy6"/>
    <dgm:cxn modelId="{A720DC4B-B593-4F51-A14F-F17DCEA5D7FF}" type="presParOf" srcId="{A65EEE17-B142-4395-9440-82681C1ADA87}" destId="{52E6BFE2-0D95-4828-82AE-0FAC5EF08EAA}" srcOrd="11" destOrd="0" presId="urn:microsoft.com/office/officeart/2005/8/layout/hierarchy6"/>
    <dgm:cxn modelId="{9C949D05-9430-4EC6-A5C5-745B2251D8B7}" type="presParOf" srcId="{52E6BFE2-0D95-4828-82AE-0FAC5EF08EAA}" destId="{11711BDA-6E88-4B70-AD55-C75947559D72}" srcOrd="0" destOrd="0" presId="urn:microsoft.com/office/officeart/2005/8/layout/hierarchy6"/>
    <dgm:cxn modelId="{D8C05CB7-DF04-46AB-93FB-0637F96C878B}" type="presParOf" srcId="{52E6BFE2-0D95-4828-82AE-0FAC5EF08EAA}" destId="{8A1B2119-0194-4815-A48B-D904407BB993}"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chemeClr val="tx2">
            <a:lumMod val="60000"/>
            <a:lumOff val="40000"/>
          </a:schemeClr>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BFA158E-C0B2-4491-A478-D35EA9CB2E8C}" type="doc">
      <dgm:prSet loTypeId="urn:microsoft.com/office/officeart/2005/8/layout/vList5" loCatId="list" qsTypeId="urn:microsoft.com/office/officeart/2005/8/quickstyle/simple1" qsCatId="simple" csTypeId="urn:microsoft.com/office/officeart/2005/8/colors/accent4_1" csCatId="accent4"/>
      <dgm:spPr/>
      <dgm:t>
        <a:bodyPr/>
        <a:lstStyle/>
        <a:p>
          <a:endParaRPr lang="en-US"/>
        </a:p>
      </dgm:t>
    </dgm:pt>
    <dgm:pt modelId="{7C1BA52E-682C-46B6-B49B-7EAADCFF842C}">
      <dgm:prSet/>
      <dgm:spPr/>
      <dgm:t>
        <a:bodyPr/>
        <a:lstStyle/>
        <a:p>
          <a:r>
            <a:rPr lang="en-US" b="0" i="0" baseline="0"/>
            <a:t>For SQL Server 2017 Features</a:t>
          </a:r>
          <a:endParaRPr lang="en-US"/>
        </a:p>
      </dgm:t>
    </dgm:pt>
    <dgm:pt modelId="{3C94FEB3-6732-481E-8DA5-5CE9AE085000}" type="parTrans" cxnId="{0EE34BC9-F720-4A7B-B4E8-3B2F08AEDBB9}">
      <dgm:prSet/>
      <dgm:spPr/>
      <dgm:t>
        <a:bodyPr/>
        <a:lstStyle/>
        <a:p>
          <a:endParaRPr lang="en-US"/>
        </a:p>
      </dgm:t>
    </dgm:pt>
    <dgm:pt modelId="{E7D30D8F-1972-407E-8C57-3E274FF6E093}" type="sibTrans" cxnId="{0EE34BC9-F720-4A7B-B4E8-3B2F08AEDBB9}">
      <dgm:prSet/>
      <dgm:spPr/>
      <dgm:t>
        <a:bodyPr/>
        <a:lstStyle/>
        <a:p>
          <a:endParaRPr lang="en-US"/>
        </a:p>
      </dgm:t>
    </dgm:pt>
    <dgm:pt modelId="{A966074A-A3EF-484B-8458-43BC88A0DB50}">
      <dgm:prSet/>
      <dgm:spPr/>
      <dgm:t>
        <a:bodyPr/>
        <a:lstStyle/>
        <a:p>
          <a:r>
            <a:rPr lang="en-US" b="0" i="0" baseline="0"/>
            <a:t>Enabled by default in Compatibility level 140 or higher</a:t>
          </a:r>
          <a:endParaRPr lang="en-US"/>
        </a:p>
      </dgm:t>
    </dgm:pt>
    <dgm:pt modelId="{7669BD68-FAA4-46FB-BD81-DC6E6F1677BD}" type="parTrans" cxnId="{ECA9CB09-85D4-4B64-93BB-72BBA7EA7B4D}">
      <dgm:prSet/>
      <dgm:spPr/>
      <dgm:t>
        <a:bodyPr/>
        <a:lstStyle/>
        <a:p>
          <a:endParaRPr lang="en-US"/>
        </a:p>
      </dgm:t>
    </dgm:pt>
    <dgm:pt modelId="{690BA8BF-FA89-412C-81ED-2ED5C321A439}" type="sibTrans" cxnId="{ECA9CB09-85D4-4B64-93BB-72BBA7EA7B4D}">
      <dgm:prSet/>
      <dgm:spPr/>
      <dgm:t>
        <a:bodyPr/>
        <a:lstStyle/>
        <a:p>
          <a:endParaRPr lang="en-US"/>
        </a:p>
      </dgm:t>
    </dgm:pt>
    <dgm:pt modelId="{E125D2A4-CCA8-4E48-8961-B1A8C4B97641}">
      <dgm:prSet/>
      <dgm:spPr/>
      <dgm:t>
        <a:bodyPr/>
        <a:lstStyle/>
        <a:p>
          <a:r>
            <a:rPr lang="en-US" b="0" i="0" baseline="0"/>
            <a:t>To disable change compatibility level to 130 or lower</a:t>
          </a:r>
          <a:endParaRPr lang="en-US"/>
        </a:p>
      </dgm:t>
    </dgm:pt>
    <dgm:pt modelId="{70E278DC-E01C-4DF4-A2BE-9F2D0481C884}" type="parTrans" cxnId="{4CA5AAA7-C285-4013-A35F-8972361F1590}">
      <dgm:prSet/>
      <dgm:spPr/>
      <dgm:t>
        <a:bodyPr/>
        <a:lstStyle/>
        <a:p>
          <a:endParaRPr lang="en-US"/>
        </a:p>
      </dgm:t>
    </dgm:pt>
    <dgm:pt modelId="{4674537B-B8D1-42D9-8C21-FA1B3F6E877E}" type="sibTrans" cxnId="{4CA5AAA7-C285-4013-A35F-8972361F1590}">
      <dgm:prSet/>
      <dgm:spPr/>
      <dgm:t>
        <a:bodyPr/>
        <a:lstStyle/>
        <a:p>
          <a:endParaRPr lang="en-US"/>
        </a:p>
      </dgm:t>
    </dgm:pt>
    <dgm:pt modelId="{40E1E09E-7149-49CF-8D93-01B7D31D818C}">
      <dgm:prSet/>
      <dgm:spPr/>
      <dgm:t>
        <a:bodyPr/>
        <a:lstStyle/>
        <a:p>
          <a:r>
            <a:rPr lang="en-US" b="0" i="0" baseline="0"/>
            <a:t>For SQL Server 2019 Features</a:t>
          </a:r>
          <a:endParaRPr lang="en-US"/>
        </a:p>
      </dgm:t>
    </dgm:pt>
    <dgm:pt modelId="{57206C63-51DF-446B-81F6-C0D61CAB6BF3}" type="parTrans" cxnId="{480542F7-3BD3-44FE-A2ED-367808B11D91}">
      <dgm:prSet/>
      <dgm:spPr/>
      <dgm:t>
        <a:bodyPr/>
        <a:lstStyle/>
        <a:p>
          <a:endParaRPr lang="en-US"/>
        </a:p>
      </dgm:t>
    </dgm:pt>
    <dgm:pt modelId="{308B6EFB-DF43-4EC2-97C8-A638768B7104}" type="sibTrans" cxnId="{480542F7-3BD3-44FE-A2ED-367808B11D91}">
      <dgm:prSet/>
      <dgm:spPr/>
      <dgm:t>
        <a:bodyPr/>
        <a:lstStyle/>
        <a:p>
          <a:endParaRPr lang="en-US"/>
        </a:p>
      </dgm:t>
    </dgm:pt>
    <dgm:pt modelId="{7193DCC5-7302-4B13-A9E8-625CDA53828D}">
      <dgm:prSet/>
      <dgm:spPr/>
      <dgm:t>
        <a:bodyPr/>
        <a:lstStyle/>
        <a:p>
          <a:r>
            <a:rPr lang="en-US" b="0" i="0" baseline="0"/>
            <a:t>Enabled by default in Compatibility level 150 or higher</a:t>
          </a:r>
          <a:endParaRPr lang="en-US"/>
        </a:p>
      </dgm:t>
    </dgm:pt>
    <dgm:pt modelId="{22258A30-BA4D-4845-B054-9712801C8450}" type="parTrans" cxnId="{786F7975-26C1-45BC-946E-BCC73554DEEC}">
      <dgm:prSet/>
      <dgm:spPr/>
      <dgm:t>
        <a:bodyPr/>
        <a:lstStyle/>
        <a:p>
          <a:endParaRPr lang="en-US"/>
        </a:p>
      </dgm:t>
    </dgm:pt>
    <dgm:pt modelId="{90AAAE82-89B6-4FF0-84A7-EC6DD96A0C24}" type="sibTrans" cxnId="{786F7975-26C1-45BC-946E-BCC73554DEEC}">
      <dgm:prSet/>
      <dgm:spPr/>
      <dgm:t>
        <a:bodyPr/>
        <a:lstStyle/>
        <a:p>
          <a:endParaRPr lang="en-US"/>
        </a:p>
      </dgm:t>
    </dgm:pt>
    <dgm:pt modelId="{6575D6B8-BCC1-450A-BB72-AC4D21FBEDDF}">
      <dgm:prSet/>
      <dgm:spPr/>
      <dgm:t>
        <a:bodyPr/>
        <a:lstStyle/>
        <a:p>
          <a:r>
            <a:rPr lang="en-US" b="0" i="0" baseline="0"/>
            <a:t>To disable change compatibility level to 140 or lower</a:t>
          </a:r>
          <a:endParaRPr lang="en-US"/>
        </a:p>
      </dgm:t>
    </dgm:pt>
    <dgm:pt modelId="{D146F1BE-7003-42F8-97A4-92C859160D3C}" type="parTrans" cxnId="{2A9E1010-25CB-4546-ADDD-0B0460197580}">
      <dgm:prSet/>
      <dgm:spPr/>
      <dgm:t>
        <a:bodyPr/>
        <a:lstStyle/>
        <a:p>
          <a:endParaRPr lang="en-US"/>
        </a:p>
      </dgm:t>
    </dgm:pt>
    <dgm:pt modelId="{80E48E7C-9E00-4FBE-9B42-BD6DE0E45480}" type="sibTrans" cxnId="{2A9E1010-25CB-4546-ADDD-0B0460197580}">
      <dgm:prSet/>
      <dgm:spPr/>
      <dgm:t>
        <a:bodyPr/>
        <a:lstStyle/>
        <a:p>
          <a:endParaRPr lang="en-US"/>
        </a:p>
      </dgm:t>
    </dgm:pt>
    <dgm:pt modelId="{20B86D46-23F7-4247-8F2A-205EE1B4999A}">
      <dgm:prSet/>
      <dgm:spPr/>
      <dgm:t>
        <a:bodyPr/>
        <a:lstStyle/>
        <a:p>
          <a:r>
            <a:rPr lang="en-US" b="0" i="0" baseline="0"/>
            <a:t>For SQL Server 2022 Features</a:t>
          </a:r>
          <a:endParaRPr lang="en-US"/>
        </a:p>
      </dgm:t>
    </dgm:pt>
    <dgm:pt modelId="{5AC410F1-AD67-4F11-95D4-7C688F3C0ABA}" type="parTrans" cxnId="{6D9D1B7E-5444-4667-B599-CDE1FBB9ADE4}">
      <dgm:prSet/>
      <dgm:spPr/>
      <dgm:t>
        <a:bodyPr/>
        <a:lstStyle/>
        <a:p>
          <a:endParaRPr lang="en-US"/>
        </a:p>
      </dgm:t>
    </dgm:pt>
    <dgm:pt modelId="{E1ACE809-FC7E-4699-89CF-DE3BB1A12A3D}" type="sibTrans" cxnId="{6D9D1B7E-5444-4667-B599-CDE1FBB9ADE4}">
      <dgm:prSet/>
      <dgm:spPr/>
      <dgm:t>
        <a:bodyPr/>
        <a:lstStyle/>
        <a:p>
          <a:endParaRPr lang="en-US"/>
        </a:p>
      </dgm:t>
    </dgm:pt>
    <dgm:pt modelId="{B6DF4F87-87DB-4AFB-90CA-95354A3431B8}">
      <dgm:prSet/>
      <dgm:spPr/>
      <dgm:t>
        <a:bodyPr/>
        <a:lstStyle/>
        <a:p>
          <a:r>
            <a:rPr lang="en-US" b="0" i="0" baseline="0"/>
            <a:t>Enabled by default in Compatibility level 160 or higher</a:t>
          </a:r>
          <a:endParaRPr lang="en-US"/>
        </a:p>
      </dgm:t>
    </dgm:pt>
    <dgm:pt modelId="{23B423A7-0D56-4481-9944-A38F66DE8D65}" type="parTrans" cxnId="{F6E49F48-E7B1-42F9-8194-F5BB5E22F219}">
      <dgm:prSet/>
      <dgm:spPr/>
      <dgm:t>
        <a:bodyPr/>
        <a:lstStyle/>
        <a:p>
          <a:endParaRPr lang="en-US"/>
        </a:p>
      </dgm:t>
    </dgm:pt>
    <dgm:pt modelId="{A721FAE5-0EF2-4A70-A12D-32078BEAC213}" type="sibTrans" cxnId="{F6E49F48-E7B1-42F9-8194-F5BB5E22F219}">
      <dgm:prSet/>
      <dgm:spPr/>
      <dgm:t>
        <a:bodyPr/>
        <a:lstStyle/>
        <a:p>
          <a:endParaRPr lang="en-US"/>
        </a:p>
      </dgm:t>
    </dgm:pt>
    <dgm:pt modelId="{3C0FB1D6-B71F-4C57-B890-57FD8F1070FC}">
      <dgm:prSet/>
      <dgm:spPr/>
      <dgm:t>
        <a:bodyPr/>
        <a:lstStyle/>
        <a:p>
          <a:r>
            <a:rPr lang="en-US" b="0" i="0" baseline="0"/>
            <a:t>To disable change compatibility level to 150 or lower</a:t>
          </a:r>
          <a:endParaRPr lang="en-US"/>
        </a:p>
      </dgm:t>
    </dgm:pt>
    <dgm:pt modelId="{93314700-DDBA-41BA-858F-20F8AF432AE2}" type="parTrans" cxnId="{E0D9BE18-7B7A-41B4-A5B4-19FB6D2925F6}">
      <dgm:prSet/>
      <dgm:spPr/>
      <dgm:t>
        <a:bodyPr/>
        <a:lstStyle/>
        <a:p>
          <a:endParaRPr lang="en-US"/>
        </a:p>
      </dgm:t>
    </dgm:pt>
    <dgm:pt modelId="{F8275405-D8C4-4A38-A3A5-951677A83D4E}" type="sibTrans" cxnId="{E0D9BE18-7B7A-41B4-A5B4-19FB6D2925F6}">
      <dgm:prSet/>
      <dgm:spPr/>
      <dgm:t>
        <a:bodyPr/>
        <a:lstStyle/>
        <a:p>
          <a:endParaRPr lang="en-US"/>
        </a:p>
      </dgm:t>
    </dgm:pt>
    <dgm:pt modelId="{3029E92F-A0ED-443E-9945-A79F9877D286}" type="pres">
      <dgm:prSet presAssocID="{9BFA158E-C0B2-4491-A478-D35EA9CB2E8C}" presName="Name0" presStyleCnt="0">
        <dgm:presLayoutVars>
          <dgm:dir/>
          <dgm:animLvl val="lvl"/>
          <dgm:resizeHandles val="exact"/>
        </dgm:presLayoutVars>
      </dgm:prSet>
      <dgm:spPr/>
    </dgm:pt>
    <dgm:pt modelId="{241A5484-4A96-4EDC-9934-F352282C89BF}" type="pres">
      <dgm:prSet presAssocID="{7C1BA52E-682C-46B6-B49B-7EAADCFF842C}" presName="linNode" presStyleCnt="0"/>
      <dgm:spPr/>
    </dgm:pt>
    <dgm:pt modelId="{218FD34E-2541-406A-A55B-A25B88950A10}" type="pres">
      <dgm:prSet presAssocID="{7C1BA52E-682C-46B6-B49B-7EAADCFF842C}" presName="parentText" presStyleLbl="node1" presStyleIdx="0" presStyleCnt="3">
        <dgm:presLayoutVars>
          <dgm:chMax val="1"/>
          <dgm:bulletEnabled val="1"/>
        </dgm:presLayoutVars>
      </dgm:prSet>
      <dgm:spPr/>
    </dgm:pt>
    <dgm:pt modelId="{A3722D08-C011-4DD1-8142-126293CB9841}" type="pres">
      <dgm:prSet presAssocID="{7C1BA52E-682C-46B6-B49B-7EAADCFF842C}" presName="descendantText" presStyleLbl="alignAccFollowNode1" presStyleIdx="0" presStyleCnt="3">
        <dgm:presLayoutVars>
          <dgm:bulletEnabled val="1"/>
        </dgm:presLayoutVars>
      </dgm:prSet>
      <dgm:spPr/>
    </dgm:pt>
    <dgm:pt modelId="{1079B47F-E910-472E-BFB1-712B2F8F71B8}" type="pres">
      <dgm:prSet presAssocID="{E7D30D8F-1972-407E-8C57-3E274FF6E093}" presName="sp" presStyleCnt="0"/>
      <dgm:spPr/>
    </dgm:pt>
    <dgm:pt modelId="{ACF41510-0932-42C0-B620-33590FE7B270}" type="pres">
      <dgm:prSet presAssocID="{40E1E09E-7149-49CF-8D93-01B7D31D818C}" presName="linNode" presStyleCnt="0"/>
      <dgm:spPr/>
    </dgm:pt>
    <dgm:pt modelId="{2CEAB421-F7F0-4DBA-8BC0-61523C870BAD}" type="pres">
      <dgm:prSet presAssocID="{40E1E09E-7149-49CF-8D93-01B7D31D818C}" presName="parentText" presStyleLbl="node1" presStyleIdx="1" presStyleCnt="3">
        <dgm:presLayoutVars>
          <dgm:chMax val="1"/>
          <dgm:bulletEnabled val="1"/>
        </dgm:presLayoutVars>
      </dgm:prSet>
      <dgm:spPr/>
    </dgm:pt>
    <dgm:pt modelId="{57B402D0-3813-4A24-A54B-61124215544D}" type="pres">
      <dgm:prSet presAssocID="{40E1E09E-7149-49CF-8D93-01B7D31D818C}" presName="descendantText" presStyleLbl="alignAccFollowNode1" presStyleIdx="1" presStyleCnt="3">
        <dgm:presLayoutVars>
          <dgm:bulletEnabled val="1"/>
        </dgm:presLayoutVars>
      </dgm:prSet>
      <dgm:spPr/>
    </dgm:pt>
    <dgm:pt modelId="{5F59DCC0-1541-44F6-AD31-4BE820AFB986}" type="pres">
      <dgm:prSet presAssocID="{308B6EFB-DF43-4EC2-97C8-A638768B7104}" presName="sp" presStyleCnt="0"/>
      <dgm:spPr/>
    </dgm:pt>
    <dgm:pt modelId="{C8DB75BD-F69F-45A3-B261-5E1876173FFD}" type="pres">
      <dgm:prSet presAssocID="{20B86D46-23F7-4247-8F2A-205EE1B4999A}" presName="linNode" presStyleCnt="0"/>
      <dgm:spPr/>
    </dgm:pt>
    <dgm:pt modelId="{5B24DDF3-44E0-40FF-B14A-8F8A9E374E17}" type="pres">
      <dgm:prSet presAssocID="{20B86D46-23F7-4247-8F2A-205EE1B4999A}" presName="parentText" presStyleLbl="node1" presStyleIdx="2" presStyleCnt="3">
        <dgm:presLayoutVars>
          <dgm:chMax val="1"/>
          <dgm:bulletEnabled val="1"/>
        </dgm:presLayoutVars>
      </dgm:prSet>
      <dgm:spPr/>
    </dgm:pt>
    <dgm:pt modelId="{626A19CE-ED32-4563-82E3-899C299E48A3}" type="pres">
      <dgm:prSet presAssocID="{20B86D46-23F7-4247-8F2A-205EE1B4999A}" presName="descendantText" presStyleLbl="alignAccFollowNode1" presStyleIdx="2" presStyleCnt="3">
        <dgm:presLayoutVars>
          <dgm:bulletEnabled val="1"/>
        </dgm:presLayoutVars>
      </dgm:prSet>
      <dgm:spPr/>
    </dgm:pt>
  </dgm:ptLst>
  <dgm:cxnLst>
    <dgm:cxn modelId="{ECA9CB09-85D4-4B64-93BB-72BBA7EA7B4D}" srcId="{7C1BA52E-682C-46B6-B49B-7EAADCFF842C}" destId="{A966074A-A3EF-484B-8458-43BC88A0DB50}" srcOrd="0" destOrd="0" parTransId="{7669BD68-FAA4-46FB-BD81-DC6E6F1677BD}" sibTransId="{690BA8BF-FA89-412C-81ED-2ED5C321A439}"/>
    <dgm:cxn modelId="{B55F8B0A-1617-4E1C-AAEC-6D68B9CC882C}" type="presOf" srcId="{7193DCC5-7302-4B13-A9E8-625CDA53828D}" destId="{57B402D0-3813-4A24-A54B-61124215544D}" srcOrd="0" destOrd="0" presId="urn:microsoft.com/office/officeart/2005/8/layout/vList5"/>
    <dgm:cxn modelId="{2A9E1010-25CB-4546-ADDD-0B0460197580}" srcId="{40E1E09E-7149-49CF-8D93-01B7D31D818C}" destId="{6575D6B8-BCC1-450A-BB72-AC4D21FBEDDF}" srcOrd="1" destOrd="0" parTransId="{D146F1BE-7003-42F8-97A4-92C859160D3C}" sibTransId="{80E48E7C-9E00-4FBE-9B42-BD6DE0E45480}"/>
    <dgm:cxn modelId="{E0D9BE18-7B7A-41B4-A5B4-19FB6D2925F6}" srcId="{20B86D46-23F7-4247-8F2A-205EE1B4999A}" destId="{3C0FB1D6-B71F-4C57-B890-57FD8F1070FC}" srcOrd="1" destOrd="0" parTransId="{93314700-DDBA-41BA-858F-20F8AF432AE2}" sibTransId="{F8275405-D8C4-4A38-A3A5-951677A83D4E}"/>
    <dgm:cxn modelId="{F6E49F48-E7B1-42F9-8194-F5BB5E22F219}" srcId="{20B86D46-23F7-4247-8F2A-205EE1B4999A}" destId="{B6DF4F87-87DB-4AFB-90CA-95354A3431B8}" srcOrd="0" destOrd="0" parTransId="{23B423A7-0D56-4481-9944-A38F66DE8D65}" sibTransId="{A721FAE5-0EF2-4A70-A12D-32078BEAC213}"/>
    <dgm:cxn modelId="{9C2ACD6C-DD05-497A-9CF1-EA3E02999D9E}" type="presOf" srcId="{7C1BA52E-682C-46B6-B49B-7EAADCFF842C}" destId="{218FD34E-2541-406A-A55B-A25B88950A10}" srcOrd="0" destOrd="0" presId="urn:microsoft.com/office/officeart/2005/8/layout/vList5"/>
    <dgm:cxn modelId="{5B906D4F-DC2A-4923-BE5B-0D5F1CA9E285}" type="presOf" srcId="{A966074A-A3EF-484B-8458-43BC88A0DB50}" destId="{A3722D08-C011-4DD1-8142-126293CB9841}" srcOrd="0" destOrd="0" presId="urn:microsoft.com/office/officeart/2005/8/layout/vList5"/>
    <dgm:cxn modelId="{F8843071-C655-4EB7-9E74-C919BD0EBACD}" type="presOf" srcId="{20B86D46-23F7-4247-8F2A-205EE1B4999A}" destId="{5B24DDF3-44E0-40FF-B14A-8F8A9E374E17}" srcOrd="0" destOrd="0" presId="urn:microsoft.com/office/officeart/2005/8/layout/vList5"/>
    <dgm:cxn modelId="{786F7975-26C1-45BC-946E-BCC73554DEEC}" srcId="{40E1E09E-7149-49CF-8D93-01B7D31D818C}" destId="{7193DCC5-7302-4B13-A9E8-625CDA53828D}" srcOrd="0" destOrd="0" parTransId="{22258A30-BA4D-4845-B054-9712801C8450}" sibTransId="{90AAAE82-89B6-4FF0-84A7-EC6DD96A0C24}"/>
    <dgm:cxn modelId="{34340076-EEC1-4713-A1EE-A4AD81A92CE4}" type="presOf" srcId="{3C0FB1D6-B71F-4C57-B890-57FD8F1070FC}" destId="{626A19CE-ED32-4563-82E3-899C299E48A3}" srcOrd="0" destOrd="1" presId="urn:microsoft.com/office/officeart/2005/8/layout/vList5"/>
    <dgm:cxn modelId="{D609A159-E9FB-4EEA-89F1-C48627213A2E}" type="presOf" srcId="{E125D2A4-CCA8-4E48-8961-B1A8C4B97641}" destId="{A3722D08-C011-4DD1-8142-126293CB9841}" srcOrd="0" destOrd="1" presId="urn:microsoft.com/office/officeart/2005/8/layout/vList5"/>
    <dgm:cxn modelId="{6D9D1B7E-5444-4667-B599-CDE1FBB9ADE4}" srcId="{9BFA158E-C0B2-4491-A478-D35EA9CB2E8C}" destId="{20B86D46-23F7-4247-8F2A-205EE1B4999A}" srcOrd="2" destOrd="0" parTransId="{5AC410F1-AD67-4F11-95D4-7C688F3C0ABA}" sibTransId="{E1ACE809-FC7E-4699-89CF-DE3BB1A12A3D}"/>
    <dgm:cxn modelId="{DD74209F-1E76-4E33-98C7-9543EBFFF07D}" type="presOf" srcId="{9BFA158E-C0B2-4491-A478-D35EA9CB2E8C}" destId="{3029E92F-A0ED-443E-9945-A79F9877D286}" srcOrd="0" destOrd="0" presId="urn:microsoft.com/office/officeart/2005/8/layout/vList5"/>
    <dgm:cxn modelId="{4A173DA5-E61B-4DFB-8CBE-DEFE61F86FBC}" type="presOf" srcId="{40E1E09E-7149-49CF-8D93-01B7D31D818C}" destId="{2CEAB421-F7F0-4DBA-8BC0-61523C870BAD}" srcOrd="0" destOrd="0" presId="urn:microsoft.com/office/officeart/2005/8/layout/vList5"/>
    <dgm:cxn modelId="{4CA5AAA7-C285-4013-A35F-8972361F1590}" srcId="{7C1BA52E-682C-46B6-B49B-7EAADCFF842C}" destId="{E125D2A4-CCA8-4E48-8961-B1A8C4B97641}" srcOrd="1" destOrd="0" parTransId="{70E278DC-E01C-4DF4-A2BE-9F2D0481C884}" sibTransId="{4674537B-B8D1-42D9-8C21-FA1B3F6E877E}"/>
    <dgm:cxn modelId="{A8F19EBF-56A9-4372-AF5A-D912DEA60BC3}" type="presOf" srcId="{6575D6B8-BCC1-450A-BB72-AC4D21FBEDDF}" destId="{57B402D0-3813-4A24-A54B-61124215544D}" srcOrd="0" destOrd="1" presId="urn:microsoft.com/office/officeart/2005/8/layout/vList5"/>
    <dgm:cxn modelId="{0EE34BC9-F720-4A7B-B4E8-3B2F08AEDBB9}" srcId="{9BFA158E-C0B2-4491-A478-D35EA9CB2E8C}" destId="{7C1BA52E-682C-46B6-B49B-7EAADCFF842C}" srcOrd="0" destOrd="0" parTransId="{3C94FEB3-6732-481E-8DA5-5CE9AE085000}" sibTransId="{E7D30D8F-1972-407E-8C57-3E274FF6E093}"/>
    <dgm:cxn modelId="{6F1B27DD-0D9B-469F-9038-F5DFFA07DFF3}" type="presOf" srcId="{B6DF4F87-87DB-4AFB-90CA-95354A3431B8}" destId="{626A19CE-ED32-4563-82E3-899C299E48A3}" srcOrd="0" destOrd="0" presId="urn:microsoft.com/office/officeart/2005/8/layout/vList5"/>
    <dgm:cxn modelId="{480542F7-3BD3-44FE-A2ED-367808B11D91}" srcId="{9BFA158E-C0B2-4491-A478-D35EA9CB2E8C}" destId="{40E1E09E-7149-49CF-8D93-01B7D31D818C}" srcOrd="1" destOrd="0" parTransId="{57206C63-51DF-446B-81F6-C0D61CAB6BF3}" sibTransId="{308B6EFB-DF43-4EC2-97C8-A638768B7104}"/>
    <dgm:cxn modelId="{920E1CF4-DD80-4308-BFBD-29F47C0BBCDA}" type="presParOf" srcId="{3029E92F-A0ED-443E-9945-A79F9877D286}" destId="{241A5484-4A96-4EDC-9934-F352282C89BF}" srcOrd="0" destOrd="0" presId="urn:microsoft.com/office/officeart/2005/8/layout/vList5"/>
    <dgm:cxn modelId="{25315A1F-8D53-4718-A97D-B4469AA0390E}" type="presParOf" srcId="{241A5484-4A96-4EDC-9934-F352282C89BF}" destId="{218FD34E-2541-406A-A55B-A25B88950A10}" srcOrd="0" destOrd="0" presId="urn:microsoft.com/office/officeart/2005/8/layout/vList5"/>
    <dgm:cxn modelId="{12A0DB98-8273-43BF-8BA7-3953CB9ACDE8}" type="presParOf" srcId="{241A5484-4A96-4EDC-9934-F352282C89BF}" destId="{A3722D08-C011-4DD1-8142-126293CB9841}" srcOrd="1" destOrd="0" presId="urn:microsoft.com/office/officeart/2005/8/layout/vList5"/>
    <dgm:cxn modelId="{356C762E-9038-4A7C-96B5-5DA25E3F09B2}" type="presParOf" srcId="{3029E92F-A0ED-443E-9945-A79F9877D286}" destId="{1079B47F-E910-472E-BFB1-712B2F8F71B8}" srcOrd="1" destOrd="0" presId="urn:microsoft.com/office/officeart/2005/8/layout/vList5"/>
    <dgm:cxn modelId="{F1481475-D229-43A3-B152-EF1D2D64D7A5}" type="presParOf" srcId="{3029E92F-A0ED-443E-9945-A79F9877D286}" destId="{ACF41510-0932-42C0-B620-33590FE7B270}" srcOrd="2" destOrd="0" presId="urn:microsoft.com/office/officeart/2005/8/layout/vList5"/>
    <dgm:cxn modelId="{B739D04F-0F3C-4997-921E-20BC285836FC}" type="presParOf" srcId="{ACF41510-0932-42C0-B620-33590FE7B270}" destId="{2CEAB421-F7F0-4DBA-8BC0-61523C870BAD}" srcOrd="0" destOrd="0" presId="urn:microsoft.com/office/officeart/2005/8/layout/vList5"/>
    <dgm:cxn modelId="{01F69B49-1657-4839-91EB-DD8A1DDC2EA5}" type="presParOf" srcId="{ACF41510-0932-42C0-B620-33590FE7B270}" destId="{57B402D0-3813-4A24-A54B-61124215544D}" srcOrd="1" destOrd="0" presId="urn:microsoft.com/office/officeart/2005/8/layout/vList5"/>
    <dgm:cxn modelId="{B09B73CB-D859-4D58-B9E6-5E6A9F66BFEC}" type="presParOf" srcId="{3029E92F-A0ED-443E-9945-A79F9877D286}" destId="{5F59DCC0-1541-44F6-AD31-4BE820AFB986}" srcOrd="3" destOrd="0" presId="urn:microsoft.com/office/officeart/2005/8/layout/vList5"/>
    <dgm:cxn modelId="{3442D170-671D-4CF0-B318-412B904D4416}" type="presParOf" srcId="{3029E92F-A0ED-443E-9945-A79F9877D286}" destId="{C8DB75BD-F69F-45A3-B261-5E1876173FFD}" srcOrd="4" destOrd="0" presId="urn:microsoft.com/office/officeart/2005/8/layout/vList5"/>
    <dgm:cxn modelId="{58D04AA9-E219-4E21-9F90-88F428725AE3}" type="presParOf" srcId="{C8DB75BD-F69F-45A3-B261-5E1876173FFD}" destId="{5B24DDF3-44E0-40FF-B14A-8F8A9E374E17}" srcOrd="0" destOrd="0" presId="urn:microsoft.com/office/officeart/2005/8/layout/vList5"/>
    <dgm:cxn modelId="{48063D14-20ED-4D34-8B32-35072EF7EA53}" type="presParOf" srcId="{C8DB75BD-F69F-45A3-B261-5E1876173FFD}" destId="{626A19CE-ED32-4563-82E3-899C299E48A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chemeClr val="tx2">
            <a:lumMod val="60000"/>
            <a:lumOff val="40000"/>
          </a:schemeClr>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600C9D66-7A8B-44F0-A9F4-A8BC5F7BC1E5}" type="asst">
      <dgm:prSet phldrT="[Text]"/>
      <dgm:spPr>
        <a:solidFill>
          <a:schemeClr val="tx2">
            <a:lumMod val="60000"/>
            <a:lumOff val="40000"/>
          </a:schemeClr>
        </a:solidFill>
      </dgm:spPr>
      <dgm:t>
        <a:bodyPr/>
        <a:lstStyle/>
        <a:p>
          <a:r>
            <a:rPr lang="en-US" dirty="0"/>
            <a:t>Parameter Sensitive Plan Optimization</a:t>
          </a:r>
        </a:p>
      </dgm:t>
    </dgm:pt>
    <dgm:pt modelId="{15FCCC77-CAD3-4441-BC89-4813ACAA7CA6}" type="parTrans" cxnId="{720BF63F-8354-4C25-962B-83C175427778}">
      <dgm:prSet/>
      <dgm:spPr/>
      <dgm:t>
        <a:bodyPr/>
        <a:lstStyle/>
        <a:p>
          <a:endParaRPr lang="en-US"/>
        </a:p>
      </dgm:t>
    </dgm:pt>
    <dgm:pt modelId="{247DD205-EAAC-439E-8B10-8F2C8F3A9406}" type="sibTrans" cxnId="{720BF63F-8354-4C25-962B-83C175427778}">
      <dgm:prSet/>
      <dgm:spPr/>
      <dgm:t>
        <a:bodyPr/>
        <a:lstStyle/>
        <a:p>
          <a:endParaRPr lang="en-US"/>
        </a:p>
      </dgm:t>
    </dgm:pt>
    <dgm:pt modelId="{955903E0-87A9-4D25-B5B1-CD56E89490AE}" type="asst">
      <dgm:prSet phldrT="[Text]"/>
      <dgm:spPr>
        <a:solidFill>
          <a:schemeClr val="tx2">
            <a:lumMod val="60000"/>
            <a:lumOff val="40000"/>
          </a:schemeClr>
        </a:solidFill>
      </dgm:spPr>
      <dgm:t>
        <a:bodyPr/>
        <a:lstStyle/>
        <a:p>
          <a:r>
            <a:rPr lang="en-US" dirty="0"/>
            <a:t>Optimized Plan Forcing</a:t>
          </a:r>
        </a:p>
      </dgm:t>
    </dgm:pt>
    <dgm:pt modelId="{D37D6034-B6F5-48EF-9814-8BF0CA358979}" type="parTrans" cxnId="{47C6973E-FC8A-4E2F-8998-3A3AA1737BB2}">
      <dgm:prSet/>
      <dgm:spPr/>
      <dgm:t>
        <a:bodyPr/>
        <a:lstStyle/>
        <a:p>
          <a:endParaRPr lang="en-US"/>
        </a:p>
      </dgm:t>
    </dgm:pt>
    <dgm:pt modelId="{C35B32BC-C4E7-473E-BF88-6C6BCE2D504D}" type="sibTrans" cxnId="{47C6973E-FC8A-4E2F-8998-3A3AA1737BB2}">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6"/>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6"/>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6"/>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6"/>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8"/>
      <dgm:spPr/>
    </dgm:pt>
    <dgm:pt modelId="{FF74A897-7319-4EFC-A661-F079BB4AAB14}" type="pres">
      <dgm:prSet presAssocID="{61FFD111-044A-4BE1-9445-2617C82DC89D}" presName="hierChild3" presStyleCnt="0"/>
      <dgm:spPr/>
    </dgm:pt>
    <dgm:pt modelId="{79E74D5E-EF10-47B0-A9D3-2293E202AE2C}" type="pres">
      <dgm:prSet presAssocID="{D37D6034-B6F5-48EF-9814-8BF0CA358979}" presName="Name19" presStyleLbl="parChTrans1D2" presStyleIdx="4" presStyleCnt="6"/>
      <dgm:spPr/>
    </dgm:pt>
    <dgm:pt modelId="{7E1A1D8C-A378-450A-91F2-1236B8A76AF2}" type="pres">
      <dgm:prSet presAssocID="{955903E0-87A9-4D25-B5B1-CD56E89490AE}" presName="Name21" presStyleCnt="0"/>
      <dgm:spPr/>
    </dgm:pt>
    <dgm:pt modelId="{7F65BB58-1B93-4E6B-B945-953C7DA0DB73}" type="pres">
      <dgm:prSet presAssocID="{955903E0-87A9-4D25-B5B1-CD56E89490AE}" presName="level2Shape" presStyleLbl="asst1" presStyleIdx="6" presStyleCnt="8"/>
      <dgm:spPr/>
    </dgm:pt>
    <dgm:pt modelId="{500C33AF-2AA1-42CC-B3E3-76BAC8055B2E}" type="pres">
      <dgm:prSet presAssocID="{955903E0-87A9-4D25-B5B1-CD56E89490AE}" presName="hierChild3" presStyleCnt="0"/>
      <dgm:spPr/>
    </dgm:pt>
    <dgm:pt modelId="{7AA21635-E323-4213-93F2-9043E3D4FE8B}" type="pres">
      <dgm:prSet presAssocID="{15FCCC77-CAD3-4441-BC89-4813ACAA7CA6}" presName="Name19" presStyleLbl="parChTrans1D2" presStyleIdx="5" presStyleCnt="6"/>
      <dgm:spPr/>
    </dgm:pt>
    <dgm:pt modelId="{9174776B-7F9A-43D3-9235-6C0CFA545E9F}" type="pres">
      <dgm:prSet presAssocID="{600C9D66-7A8B-44F0-A9F4-A8BC5F7BC1E5}" presName="Name21" presStyleCnt="0"/>
      <dgm:spPr/>
    </dgm:pt>
    <dgm:pt modelId="{60EFB09A-C2CB-4EC8-A783-B2648B63E9CB}" type="pres">
      <dgm:prSet presAssocID="{600C9D66-7A8B-44F0-A9F4-A8BC5F7BC1E5}" presName="level2Shape" presStyleLbl="asst1" presStyleIdx="7" presStyleCnt="8" custScaleY="96980"/>
      <dgm:spPr/>
    </dgm:pt>
    <dgm:pt modelId="{8F51EDB5-DB41-4525-BCD1-D281C3D91AEB}" type="pres">
      <dgm:prSet presAssocID="{600C9D66-7A8B-44F0-A9F4-A8BC5F7BC1E5}"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D6CC093C-E0D5-4CC2-A837-EE50A9571DF0}" type="presOf" srcId="{D37D6034-B6F5-48EF-9814-8BF0CA358979}" destId="{79E74D5E-EF10-47B0-A9D3-2293E202AE2C}" srcOrd="0" destOrd="0" presId="urn:microsoft.com/office/officeart/2005/8/layout/hierarchy6"/>
    <dgm:cxn modelId="{47C6973E-FC8A-4E2F-8998-3A3AA1737BB2}" srcId="{EC5624F3-2170-43DC-97A6-A153AC2072F1}" destId="{955903E0-87A9-4D25-B5B1-CD56E89490AE}" srcOrd="4" destOrd="0" parTransId="{D37D6034-B6F5-48EF-9814-8BF0CA358979}" sibTransId="{C35B32BC-C4E7-473E-BF88-6C6BCE2D504D}"/>
    <dgm:cxn modelId="{720BF63F-8354-4C25-962B-83C175427778}" srcId="{EC5624F3-2170-43DC-97A6-A153AC2072F1}" destId="{600C9D66-7A8B-44F0-A9F4-A8BC5F7BC1E5}" srcOrd="5" destOrd="0" parTransId="{15FCCC77-CAD3-4441-BC89-4813ACAA7CA6}" sibTransId="{247DD205-EAAC-439E-8B10-8F2C8F3A9406}"/>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F963E876-6722-46E4-960D-D79F2E2F9F95}" type="presOf" srcId="{955903E0-87A9-4D25-B5B1-CD56E89490AE}" destId="{7F65BB58-1B93-4E6B-B945-953C7DA0DB73}"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E4114C7D-751A-4C69-9D9C-F6214E9A9AFE}" type="presOf" srcId="{600C9D66-7A8B-44F0-A9F4-A8BC5F7BC1E5}" destId="{60EFB09A-C2CB-4EC8-A783-B2648B63E9CB}" srcOrd="0" destOrd="0" presId="urn:microsoft.com/office/officeart/2005/8/layout/hierarchy6"/>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0D78AA81-A8D0-4E7C-9C93-BDDB8C19E708}" type="presOf" srcId="{15FCCC77-CAD3-4441-BC89-4813ACAA7CA6}" destId="{7AA21635-E323-4213-93F2-9043E3D4FE8B}" srcOrd="0" destOrd="0" presId="urn:microsoft.com/office/officeart/2005/8/layout/hierarchy6"/>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09E319FA-5E44-4FA7-8055-034F42AC4B9D}" type="presParOf" srcId="{A65EEE17-B142-4395-9440-82681C1ADA87}" destId="{79E74D5E-EF10-47B0-A9D3-2293E202AE2C}" srcOrd="8" destOrd="0" presId="urn:microsoft.com/office/officeart/2005/8/layout/hierarchy6"/>
    <dgm:cxn modelId="{953B12F1-B11E-4DD5-8659-B099348CC827}" type="presParOf" srcId="{A65EEE17-B142-4395-9440-82681C1ADA87}" destId="{7E1A1D8C-A378-450A-91F2-1236B8A76AF2}" srcOrd="9" destOrd="0" presId="urn:microsoft.com/office/officeart/2005/8/layout/hierarchy6"/>
    <dgm:cxn modelId="{D749F81C-CD40-4A47-8BFB-FB7279A8950A}" type="presParOf" srcId="{7E1A1D8C-A378-450A-91F2-1236B8A76AF2}" destId="{7F65BB58-1B93-4E6B-B945-953C7DA0DB73}" srcOrd="0" destOrd="0" presId="urn:microsoft.com/office/officeart/2005/8/layout/hierarchy6"/>
    <dgm:cxn modelId="{5F326508-C434-4805-AD0D-AD7CC76BA37F}" type="presParOf" srcId="{7E1A1D8C-A378-450A-91F2-1236B8A76AF2}" destId="{500C33AF-2AA1-42CC-B3E3-76BAC8055B2E}" srcOrd="1" destOrd="0" presId="urn:microsoft.com/office/officeart/2005/8/layout/hierarchy6"/>
    <dgm:cxn modelId="{A163ACA0-0CEA-4A68-839B-270C05104CB7}" type="presParOf" srcId="{A65EEE17-B142-4395-9440-82681C1ADA87}" destId="{7AA21635-E323-4213-93F2-9043E3D4FE8B}" srcOrd="10" destOrd="0" presId="urn:microsoft.com/office/officeart/2005/8/layout/hierarchy6"/>
    <dgm:cxn modelId="{D1B1BF6C-65F3-48E0-A768-38E994172B19}" type="presParOf" srcId="{A65EEE17-B142-4395-9440-82681C1ADA87}" destId="{9174776B-7F9A-43D3-9235-6C0CFA545E9F}" srcOrd="11" destOrd="0" presId="urn:microsoft.com/office/officeart/2005/8/layout/hierarchy6"/>
    <dgm:cxn modelId="{AD0DB1F0-4C02-405A-9D41-8281FEE8CC65}" type="presParOf" srcId="{9174776B-7F9A-43D3-9235-6C0CFA545E9F}" destId="{60EFB09A-C2CB-4EC8-A783-B2648B63E9CB}" srcOrd="0" destOrd="0" presId="urn:microsoft.com/office/officeart/2005/8/layout/hierarchy6"/>
    <dgm:cxn modelId="{C9DAFB5D-6720-4F73-9A00-DD30D388ECC8}" type="presParOf" srcId="{9174776B-7F9A-43D3-9235-6C0CFA545E9F}" destId="{8F51EDB5-DB41-4525-BCD1-D281C3D91AEB}"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2" qsCatId="simple" csTypeId="urn:microsoft.com/office/officeart/2005/8/colors/accent5_2" csCatId="accent5" phldr="1"/>
      <dgm:spPr/>
      <dgm:t>
        <a:bodyPr/>
        <a:lstStyle/>
        <a:p>
          <a:endParaRPr lang="en-US"/>
        </a:p>
      </dgm:t>
    </dgm:pt>
    <dgm:pt modelId="{FB9E8E93-E505-4F61-B986-63526300BB1E}">
      <dgm:prSet phldrT="[Text]" phldr="0" custT="1"/>
      <dgm:spPr/>
      <dgm:t>
        <a:bodyPr/>
        <a:lstStyle/>
        <a:p>
          <a:r>
            <a:rPr lang="en-US" sz="2400" b="1" dirty="0"/>
            <a:t>Query Compilation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custT="1"/>
      <dgm:spPr/>
      <dgm:t>
        <a:bodyPr/>
        <a:lstStyle/>
        <a:p>
          <a:r>
            <a:rPr lang="en-US" sz="1800" b="0" i="0" dirty="0"/>
            <a:t>Query optimization and compilation is a multi-phased process of quickly generating a “good-enough” query execution plan</a:t>
          </a:r>
          <a:endParaRPr lang="en-US" sz="1800"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DB4715F-AEDF-4BC7-8A41-B993BD4DDBF7}">
      <dgm:prSet custT="1"/>
      <dgm:spPr/>
      <dgm:t>
        <a:bodyPr/>
        <a:lstStyle/>
        <a:p>
          <a:r>
            <a:rPr lang="en-US" sz="1800" b="0" i="0" dirty="0"/>
            <a:t>Query execution time includes compilation. Can be time and resource consuming</a:t>
          </a:r>
          <a:endParaRPr lang="en-US" sz="1800" dirty="0">
            <a:latin typeface="Segoe UI" panose="020B0502040204020203" pitchFamily="34" charset="0"/>
            <a:cs typeface="Segoe UI" panose="020B0502040204020203" pitchFamily="34" charset="0"/>
          </a:endParaRPr>
        </a:p>
      </dgm:t>
    </dgm:pt>
    <dgm:pt modelId="{8F5D64C9-6C05-4502-AE2A-17CEF568A3D8}" type="parTrans" cxnId="{D83E5D7D-199E-4322-8BE4-2A6FF9D1666E}">
      <dgm:prSet/>
      <dgm:spPr/>
      <dgm:t>
        <a:bodyPr/>
        <a:lstStyle/>
        <a:p>
          <a:endParaRPr lang="en-US"/>
        </a:p>
      </dgm:t>
    </dgm:pt>
    <dgm:pt modelId="{0EB9622D-BD6B-4CB6-A155-7A0D45872404}" type="sibTrans" cxnId="{D83E5D7D-199E-4322-8BE4-2A6FF9D1666E}">
      <dgm:prSet/>
      <dgm:spPr/>
      <dgm:t>
        <a:bodyPr/>
        <a:lstStyle/>
        <a:p>
          <a:endParaRPr lang="en-US"/>
        </a:p>
      </dgm:t>
    </dgm:pt>
    <dgm:pt modelId="{A2F83BC0-82EC-4767-9569-A213A2A52554}">
      <dgm:prSet custT="1"/>
      <dgm:spPr/>
      <dgm:t>
        <a:bodyPr/>
        <a:lstStyle/>
        <a:p>
          <a:r>
            <a:rPr lang="en-US" sz="1800" b="0" i="0" dirty="0"/>
            <a:t>To reduce compilation overhead for repeating queries, SQL caches query plans for re-use</a:t>
          </a:r>
          <a:endParaRPr lang="en-US" sz="1800" dirty="0">
            <a:latin typeface="Segoe UI" panose="020B0502040204020203" pitchFamily="34" charset="0"/>
            <a:cs typeface="Segoe UI" panose="020B0502040204020203" pitchFamily="34" charset="0"/>
          </a:endParaRPr>
        </a:p>
      </dgm:t>
    </dgm:pt>
    <dgm:pt modelId="{14D30C5B-CA45-4D08-840A-71D39E7F2C08}" type="parTrans" cxnId="{C0033A3C-BD8B-456C-9DC4-648BF0C98E7C}">
      <dgm:prSet/>
      <dgm:spPr/>
      <dgm:t>
        <a:bodyPr/>
        <a:lstStyle/>
        <a:p>
          <a:endParaRPr lang="en-US"/>
        </a:p>
      </dgm:t>
    </dgm:pt>
    <dgm:pt modelId="{85E6889B-58DC-46E2-AEDB-B7AAF2B7923B}" type="sibTrans" cxnId="{C0033A3C-BD8B-456C-9DC4-648BF0C98E7C}">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1"/>
      <dgm:spPr/>
    </dgm:pt>
    <dgm:pt modelId="{09DF4224-3D80-47D7-B2BA-0A0BBC33BA22}" type="pres">
      <dgm:prSet presAssocID="{FB9E8E93-E505-4F61-B986-63526300BB1E}" presName="parentText" presStyleLbl="node1" presStyleIdx="0" presStyleCnt="1">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1">
        <dgm:presLayoutVars>
          <dgm:bulletEnabled val="1"/>
        </dgm:presLayoutVars>
      </dgm:prSet>
      <dgm:spPr/>
    </dgm:pt>
  </dgm:ptLst>
  <dgm:cxnLst>
    <dgm:cxn modelId="{91054B0F-CFC9-4B13-8ACC-026099ED3D6F}" srcId="{FB9E8E93-E505-4F61-B986-63526300BB1E}" destId="{A654B2B1-C9D2-4EB8-AF32-8F6E55E2795A}" srcOrd="0" destOrd="0" parTransId="{CBA502F4-88E7-406E-95E5-6DC4445E9C2C}" sibTransId="{9C833BE3-3094-478A-8F33-507752BF4F20}"/>
    <dgm:cxn modelId="{C0033A3C-BD8B-456C-9DC4-648BF0C98E7C}" srcId="{FB9E8E93-E505-4F61-B986-63526300BB1E}" destId="{A2F83BC0-82EC-4767-9569-A213A2A52554}" srcOrd="2" destOrd="0" parTransId="{14D30C5B-CA45-4D08-840A-71D39E7F2C08}" sibTransId="{85E6889B-58DC-46E2-AEDB-B7AAF2B7923B}"/>
    <dgm:cxn modelId="{BD13F25F-FC2A-48F6-BC9A-849DC4BBD562}" type="presOf" srcId="{5CAC6E89-8D61-41CE-B485-D446E81BC557}" destId="{B902A285-C333-498D-BE6D-38566E131EA4}" srcOrd="0" destOrd="0" presId="urn:microsoft.com/office/officeart/2005/8/layout/list1"/>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D83E5D7D-199E-4322-8BE4-2A6FF9D1666E}" srcId="{FB9E8E93-E505-4F61-B986-63526300BB1E}" destId="{6DB4715F-AEDF-4BC7-8A41-B993BD4DDBF7}" srcOrd="1" destOrd="0" parTransId="{8F5D64C9-6C05-4502-AE2A-17CEF568A3D8}" sibTransId="{0EB9622D-BD6B-4CB6-A155-7A0D45872404}"/>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A5A918A9-E0B8-445E-8C44-1BF46C1ECE88}" type="presOf" srcId="{6DB4715F-AEDF-4BC7-8A41-B993BD4DDBF7}" destId="{F2611699-6C85-4FBF-AB47-DBD3C7959DCE}" srcOrd="0" destOrd="1" presId="urn:microsoft.com/office/officeart/2005/8/layout/list1"/>
    <dgm:cxn modelId="{C86FE3FE-F87C-4A4E-BEB7-3237DC727B8B}" type="presOf" srcId="{A2F83BC0-82EC-4767-9569-A213A2A52554}" destId="{F2611699-6C85-4FBF-AB47-DBD3C7959DCE}" srcOrd="0" destOrd="2" presId="urn:microsoft.com/office/officeart/2005/8/layout/list1"/>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5CEF807-C672-49A4-9040-C0B7F3CF11FA}" type="doc">
      <dgm:prSet loTypeId="urn:microsoft.com/office/officeart/2005/8/layout/cycle5" loCatId="cycle" qsTypeId="urn:microsoft.com/office/officeart/2005/8/quickstyle/simple1" qsCatId="simple" csTypeId="urn:microsoft.com/office/officeart/2005/8/colors/accent5_2" csCatId="accent5" phldr="1"/>
      <dgm:spPr/>
      <dgm:t>
        <a:bodyPr/>
        <a:lstStyle/>
        <a:p>
          <a:endParaRPr lang="en-US"/>
        </a:p>
      </dgm:t>
    </dgm:pt>
    <dgm:pt modelId="{44794CBA-7470-4636-8657-3DC5127AA265}">
      <dgm:prSet custT="1"/>
      <dgm:spPr/>
      <dgm:t>
        <a:bodyPr/>
        <a:lstStyle/>
        <a:p>
          <a:r>
            <a:rPr lang="en-US" sz="1600" b="0" i="0" dirty="0"/>
            <a:t>Plans can be evicted from cache due to restarts or memory pressure</a:t>
          </a:r>
          <a:endParaRPr lang="en-US" sz="1600" dirty="0">
            <a:latin typeface="Segoe UI" panose="020B0502040204020203" pitchFamily="34" charset="0"/>
            <a:cs typeface="Segoe UI" panose="020B0502040204020203" pitchFamily="34" charset="0"/>
          </a:endParaRPr>
        </a:p>
      </dgm:t>
    </dgm:pt>
    <dgm:pt modelId="{CF3EC315-4936-4393-BA22-6B03A9F77272}" type="parTrans" cxnId="{1DCC9E70-6ABE-41B8-86E6-6A37BA072190}">
      <dgm:prSet/>
      <dgm:spPr/>
      <dgm:t>
        <a:bodyPr/>
        <a:lstStyle/>
        <a:p>
          <a:endParaRPr lang="en-US" sz="4800"/>
        </a:p>
      </dgm:t>
    </dgm:pt>
    <dgm:pt modelId="{BE2A594E-14D2-44B3-A29B-1A6E3AE35DA6}" type="sibTrans" cxnId="{1DCC9E70-6ABE-41B8-86E6-6A37BA072190}">
      <dgm:prSet/>
      <dgm:spPr/>
      <dgm:t>
        <a:bodyPr/>
        <a:lstStyle/>
        <a:p>
          <a:endParaRPr lang="en-US" sz="4800"/>
        </a:p>
      </dgm:t>
    </dgm:pt>
    <dgm:pt modelId="{DEDCFA53-DC48-44A7-977D-E12D394D0E0C}">
      <dgm:prSet custT="1"/>
      <dgm:spPr/>
      <dgm:t>
        <a:bodyPr/>
        <a:lstStyle/>
        <a:p>
          <a:r>
            <a:rPr lang="en-US" sz="1600" b="0" i="0" dirty="0"/>
            <a:t>Subsequent calls to the query require a full new compilation</a:t>
          </a:r>
          <a:endParaRPr lang="en-US" sz="1600" dirty="0">
            <a:latin typeface="Segoe UI" panose="020B0502040204020203" pitchFamily="34" charset="0"/>
            <a:cs typeface="Segoe UI" panose="020B0502040204020203" pitchFamily="34" charset="0"/>
          </a:endParaRPr>
        </a:p>
      </dgm:t>
    </dgm:pt>
    <dgm:pt modelId="{59D58C73-5F4D-483A-BA86-830148D877F5}" type="parTrans" cxnId="{EF6E2167-74BB-4D9B-B436-1DE484672804}">
      <dgm:prSet/>
      <dgm:spPr/>
      <dgm:t>
        <a:bodyPr/>
        <a:lstStyle/>
        <a:p>
          <a:endParaRPr lang="en-US" sz="4800"/>
        </a:p>
      </dgm:t>
    </dgm:pt>
    <dgm:pt modelId="{F09834A2-C6EC-4E8D-9A4B-149AB50ACF5B}" type="sibTrans" cxnId="{EF6E2167-74BB-4D9B-B436-1DE484672804}">
      <dgm:prSet/>
      <dgm:spPr/>
      <dgm:t>
        <a:bodyPr/>
        <a:lstStyle/>
        <a:p>
          <a:endParaRPr lang="en-US" sz="4800"/>
        </a:p>
      </dgm:t>
    </dgm:pt>
    <dgm:pt modelId="{3510DF51-6FC0-4520-8F6E-7FE3412F4BFF}" type="pres">
      <dgm:prSet presAssocID="{15CEF807-C672-49A4-9040-C0B7F3CF11FA}" presName="cycle" presStyleCnt="0">
        <dgm:presLayoutVars>
          <dgm:dir/>
          <dgm:resizeHandles val="exact"/>
        </dgm:presLayoutVars>
      </dgm:prSet>
      <dgm:spPr/>
    </dgm:pt>
    <dgm:pt modelId="{147240B6-7431-4D5B-9770-7BBD09BEEFA0}" type="pres">
      <dgm:prSet presAssocID="{44794CBA-7470-4636-8657-3DC5127AA265}" presName="node" presStyleLbl="node1" presStyleIdx="0" presStyleCnt="2">
        <dgm:presLayoutVars>
          <dgm:bulletEnabled val="1"/>
        </dgm:presLayoutVars>
      </dgm:prSet>
      <dgm:spPr/>
    </dgm:pt>
    <dgm:pt modelId="{7D35D786-E4D1-4DC4-A810-4C5B053C922F}" type="pres">
      <dgm:prSet presAssocID="{44794CBA-7470-4636-8657-3DC5127AA265}" presName="spNode" presStyleCnt="0"/>
      <dgm:spPr/>
    </dgm:pt>
    <dgm:pt modelId="{F199BF73-C33E-4EB4-A900-D6729BE99A24}" type="pres">
      <dgm:prSet presAssocID="{BE2A594E-14D2-44B3-A29B-1A6E3AE35DA6}" presName="sibTrans" presStyleLbl="sibTrans1D1" presStyleIdx="0" presStyleCnt="2"/>
      <dgm:spPr/>
    </dgm:pt>
    <dgm:pt modelId="{286F8BD2-898A-4C98-8968-C54AFB0ACCD0}" type="pres">
      <dgm:prSet presAssocID="{DEDCFA53-DC48-44A7-977D-E12D394D0E0C}" presName="node" presStyleLbl="node1" presStyleIdx="1" presStyleCnt="2">
        <dgm:presLayoutVars>
          <dgm:bulletEnabled val="1"/>
        </dgm:presLayoutVars>
      </dgm:prSet>
      <dgm:spPr/>
    </dgm:pt>
    <dgm:pt modelId="{22E1C832-A953-4948-BBB3-883D6183B375}" type="pres">
      <dgm:prSet presAssocID="{DEDCFA53-DC48-44A7-977D-E12D394D0E0C}" presName="spNode" presStyleCnt="0"/>
      <dgm:spPr/>
    </dgm:pt>
    <dgm:pt modelId="{0F332F37-F7B9-4F1F-85F7-35ACAAD08A55}" type="pres">
      <dgm:prSet presAssocID="{F09834A2-C6EC-4E8D-9A4B-149AB50ACF5B}" presName="sibTrans" presStyleLbl="sibTrans1D1" presStyleIdx="1" presStyleCnt="2"/>
      <dgm:spPr/>
    </dgm:pt>
  </dgm:ptLst>
  <dgm:cxnLst>
    <dgm:cxn modelId="{10F6435C-E5B2-4B2B-B630-341740BFCA9B}" type="presOf" srcId="{DEDCFA53-DC48-44A7-977D-E12D394D0E0C}" destId="{286F8BD2-898A-4C98-8968-C54AFB0ACCD0}" srcOrd="0" destOrd="0" presId="urn:microsoft.com/office/officeart/2005/8/layout/cycle5"/>
    <dgm:cxn modelId="{EF6E2167-74BB-4D9B-B436-1DE484672804}" srcId="{15CEF807-C672-49A4-9040-C0B7F3CF11FA}" destId="{DEDCFA53-DC48-44A7-977D-E12D394D0E0C}" srcOrd="1" destOrd="0" parTransId="{59D58C73-5F4D-483A-BA86-830148D877F5}" sibTransId="{F09834A2-C6EC-4E8D-9A4B-149AB50ACF5B}"/>
    <dgm:cxn modelId="{9DD2AB6A-096A-416D-ADA5-D3060F539E3B}" type="presOf" srcId="{F09834A2-C6EC-4E8D-9A4B-149AB50ACF5B}" destId="{0F332F37-F7B9-4F1F-85F7-35ACAAD08A55}" srcOrd="0" destOrd="0" presId="urn:microsoft.com/office/officeart/2005/8/layout/cycle5"/>
    <dgm:cxn modelId="{1DCC9E70-6ABE-41B8-86E6-6A37BA072190}" srcId="{15CEF807-C672-49A4-9040-C0B7F3CF11FA}" destId="{44794CBA-7470-4636-8657-3DC5127AA265}" srcOrd="0" destOrd="0" parTransId="{CF3EC315-4936-4393-BA22-6B03A9F77272}" sibTransId="{BE2A594E-14D2-44B3-A29B-1A6E3AE35DA6}"/>
    <dgm:cxn modelId="{1D9A9978-6839-41CF-BE2E-BFC32E670303}" type="presOf" srcId="{BE2A594E-14D2-44B3-A29B-1A6E3AE35DA6}" destId="{F199BF73-C33E-4EB4-A900-D6729BE99A24}" srcOrd="0" destOrd="0" presId="urn:microsoft.com/office/officeart/2005/8/layout/cycle5"/>
    <dgm:cxn modelId="{3EE37BE6-1FE4-4401-8600-6C0B1995FD11}" type="presOf" srcId="{15CEF807-C672-49A4-9040-C0B7F3CF11FA}" destId="{3510DF51-6FC0-4520-8F6E-7FE3412F4BFF}" srcOrd="0" destOrd="0" presId="urn:microsoft.com/office/officeart/2005/8/layout/cycle5"/>
    <dgm:cxn modelId="{900682FC-3D0A-4ADE-813E-AB209C8367E8}" type="presOf" srcId="{44794CBA-7470-4636-8657-3DC5127AA265}" destId="{147240B6-7431-4D5B-9770-7BBD09BEEFA0}" srcOrd="0" destOrd="0" presId="urn:microsoft.com/office/officeart/2005/8/layout/cycle5"/>
    <dgm:cxn modelId="{19F5C6C5-6DFF-431A-8C5D-DEA5A658B17C}" type="presParOf" srcId="{3510DF51-6FC0-4520-8F6E-7FE3412F4BFF}" destId="{147240B6-7431-4D5B-9770-7BBD09BEEFA0}" srcOrd="0" destOrd="0" presId="urn:microsoft.com/office/officeart/2005/8/layout/cycle5"/>
    <dgm:cxn modelId="{1F0EBA92-6656-4816-BB95-C1DC79591A3A}" type="presParOf" srcId="{3510DF51-6FC0-4520-8F6E-7FE3412F4BFF}" destId="{7D35D786-E4D1-4DC4-A810-4C5B053C922F}" srcOrd="1" destOrd="0" presId="urn:microsoft.com/office/officeart/2005/8/layout/cycle5"/>
    <dgm:cxn modelId="{DC34B044-3389-47EB-9994-114644CE66D5}" type="presParOf" srcId="{3510DF51-6FC0-4520-8F6E-7FE3412F4BFF}" destId="{F199BF73-C33E-4EB4-A900-D6729BE99A24}" srcOrd="2" destOrd="0" presId="urn:microsoft.com/office/officeart/2005/8/layout/cycle5"/>
    <dgm:cxn modelId="{5F4ABC18-2728-4E5B-8BCC-A1131718098E}" type="presParOf" srcId="{3510DF51-6FC0-4520-8F6E-7FE3412F4BFF}" destId="{286F8BD2-898A-4C98-8968-C54AFB0ACCD0}" srcOrd="3" destOrd="0" presId="urn:microsoft.com/office/officeart/2005/8/layout/cycle5"/>
    <dgm:cxn modelId="{5216B912-F197-498C-B5C4-6B337D1FE3D1}" type="presParOf" srcId="{3510DF51-6FC0-4520-8F6E-7FE3412F4BFF}" destId="{22E1C832-A953-4948-BBB3-883D6183B375}" srcOrd="4" destOrd="0" presId="urn:microsoft.com/office/officeart/2005/8/layout/cycle5"/>
    <dgm:cxn modelId="{D9362DEC-58C0-4A33-B79B-36AC7327FE16}" type="presParOf" srcId="{3510DF51-6FC0-4520-8F6E-7FE3412F4BFF}" destId="{0F332F37-F7B9-4F1F-85F7-35ACAAD08A55}" srcOrd="5" destOrd="0" presId="urn:microsoft.com/office/officeart/2005/8/layout/cycle5"/>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FF7EA9-1E01-4FFE-84FF-2108C119A703}">
      <dsp:nvSpPr>
        <dsp:cNvPr id="0" name=""/>
        <dsp:cNvSpPr/>
      </dsp:nvSpPr>
      <dsp:spPr>
        <a:xfrm>
          <a:off x="0" y="48741"/>
          <a:ext cx="10880725" cy="12168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An Overview of Intelligent Query Processing?</a:t>
          </a:r>
        </a:p>
      </dsp:txBody>
      <dsp:txXfrm>
        <a:off x="59399" y="108140"/>
        <a:ext cx="10761927" cy="1098002"/>
      </dsp:txXfrm>
    </dsp:sp>
    <dsp:sp modelId="{B3FF4F94-AFF8-45A0-8726-E9EEAE2647AC}">
      <dsp:nvSpPr>
        <dsp:cNvPr id="0" name=""/>
        <dsp:cNvSpPr/>
      </dsp:nvSpPr>
      <dsp:spPr>
        <a:xfrm>
          <a:off x="0" y="1452741"/>
          <a:ext cx="10880725" cy="1216800"/>
        </a:xfrm>
        <a:prstGeom prst="roundRect">
          <a:avLst/>
        </a:prstGeom>
        <a:gradFill rotWithShape="0">
          <a:gsLst>
            <a:gs pos="0">
              <a:schemeClr val="accent2">
                <a:hueOff val="-889166"/>
                <a:satOff val="18461"/>
                <a:lumOff val="196"/>
                <a:alphaOff val="0"/>
                <a:satMod val="103000"/>
                <a:lumMod val="102000"/>
                <a:tint val="94000"/>
              </a:schemeClr>
            </a:gs>
            <a:gs pos="50000">
              <a:schemeClr val="accent2">
                <a:hueOff val="-889166"/>
                <a:satOff val="18461"/>
                <a:lumOff val="196"/>
                <a:alphaOff val="0"/>
                <a:satMod val="110000"/>
                <a:lumMod val="100000"/>
                <a:shade val="100000"/>
              </a:schemeClr>
            </a:gs>
            <a:gs pos="100000">
              <a:schemeClr val="accent2">
                <a:hueOff val="-889166"/>
                <a:satOff val="18461"/>
                <a:lumOff val="19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Enabling and Disabling Features</a:t>
          </a:r>
        </a:p>
      </dsp:txBody>
      <dsp:txXfrm>
        <a:off x="59399" y="1512140"/>
        <a:ext cx="10761927" cy="1098002"/>
      </dsp:txXfrm>
    </dsp:sp>
    <dsp:sp modelId="{6FA26E25-59B6-46AF-B682-722BA7826235}">
      <dsp:nvSpPr>
        <dsp:cNvPr id="0" name=""/>
        <dsp:cNvSpPr/>
      </dsp:nvSpPr>
      <dsp:spPr>
        <a:xfrm>
          <a:off x="0" y="2856741"/>
          <a:ext cx="10880725" cy="1216800"/>
        </a:xfrm>
        <a:prstGeom prst="roundRect">
          <a:avLst/>
        </a:prstGeom>
        <a:gradFill rotWithShape="0">
          <a:gsLst>
            <a:gs pos="0">
              <a:schemeClr val="accent2">
                <a:hueOff val="-1778331"/>
                <a:satOff val="36921"/>
                <a:lumOff val="392"/>
                <a:alphaOff val="0"/>
                <a:satMod val="103000"/>
                <a:lumMod val="102000"/>
                <a:tint val="94000"/>
              </a:schemeClr>
            </a:gs>
            <a:gs pos="50000">
              <a:schemeClr val="accent2">
                <a:hueOff val="-1778331"/>
                <a:satOff val="36921"/>
                <a:lumOff val="392"/>
                <a:alphaOff val="0"/>
                <a:satMod val="110000"/>
                <a:lumMod val="100000"/>
                <a:shade val="100000"/>
              </a:schemeClr>
            </a:gs>
            <a:gs pos="100000">
              <a:schemeClr val="accent2">
                <a:hueOff val="-1778331"/>
                <a:satOff val="36921"/>
                <a:lumOff val="39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What is Optimized Plan Forcing?</a:t>
          </a:r>
        </a:p>
      </dsp:txBody>
      <dsp:txXfrm>
        <a:off x="59399" y="2916140"/>
        <a:ext cx="10761927" cy="1098002"/>
      </dsp:txXfrm>
    </dsp:sp>
    <dsp:sp modelId="{06A6BAF2-CEC0-49FA-AEC5-EA456C95C9BB}">
      <dsp:nvSpPr>
        <dsp:cNvPr id="0" name=""/>
        <dsp:cNvSpPr/>
      </dsp:nvSpPr>
      <dsp:spPr>
        <a:xfrm>
          <a:off x="0" y="4260741"/>
          <a:ext cx="10880725" cy="1216800"/>
        </a:xfrm>
        <a:prstGeom prst="round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Demonstration</a:t>
          </a:r>
        </a:p>
      </dsp:txBody>
      <dsp:txXfrm>
        <a:off x="59399" y="4320140"/>
        <a:ext cx="10761927" cy="1098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627420-5C6C-4D72-AEC0-56A4B040BD2E}">
      <dsp:nvSpPr>
        <dsp:cNvPr id="0" name=""/>
        <dsp:cNvSpPr/>
      </dsp:nvSpPr>
      <dsp:spPr>
        <a:xfrm>
          <a:off x="0" y="0"/>
          <a:ext cx="11144474" cy="1216800"/>
        </a:xfrm>
        <a:prstGeom prst="round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Query Compilation Replay</a:t>
          </a:r>
          <a:endParaRPr lang="en-US" sz="2400" b="1" kern="1200" dirty="0"/>
        </a:p>
      </dsp:txBody>
      <dsp:txXfrm>
        <a:off x="59399" y="59399"/>
        <a:ext cx="11025676" cy="1098002"/>
      </dsp:txXfrm>
    </dsp:sp>
    <dsp:sp modelId="{AE3B6265-E121-46EA-BA53-EF8CA4BD0DB2}">
      <dsp:nvSpPr>
        <dsp:cNvPr id="0" name=""/>
        <dsp:cNvSpPr/>
      </dsp:nvSpPr>
      <dsp:spPr>
        <a:xfrm>
          <a:off x="0" y="1286318"/>
          <a:ext cx="11144474" cy="35108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837"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b="0" i="0" kern="1200" dirty="0">
              <a:latin typeface="+mn-lt"/>
            </a:rPr>
            <a:t>Stores a </a:t>
          </a:r>
          <a:r>
            <a:rPr lang="en-US" sz="2400" b="0" i="1" kern="1200" dirty="0">
              <a:latin typeface="+mn-lt"/>
            </a:rPr>
            <a:t>compilation replay script </a:t>
          </a:r>
          <a:r>
            <a:rPr lang="en-US" sz="2400" b="0" i="0" kern="1200" dirty="0">
              <a:latin typeface="+mn-lt"/>
            </a:rPr>
            <a:t>(CRS) that persists key compilation steps in Query Store.</a:t>
          </a:r>
          <a:endParaRPr lang="en-US" sz="2400" b="1" kern="1200" dirty="0">
            <a:latin typeface="+mn-lt"/>
          </a:endParaRPr>
        </a:p>
        <a:p>
          <a:pPr marL="228600" lvl="1" indent="-228600" algn="l" defTabSz="1066800">
            <a:lnSpc>
              <a:spcPct val="90000"/>
            </a:lnSpc>
            <a:spcBef>
              <a:spcPct val="0"/>
            </a:spcBef>
            <a:spcAft>
              <a:spcPct val="20000"/>
            </a:spcAft>
            <a:buChar char="•"/>
          </a:pPr>
          <a:r>
            <a:rPr lang="en-US" sz="2400" b="0" i="0" kern="1200" dirty="0">
              <a:latin typeface="+mn-lt"/>
            </a:rPr>
            <a:t>Stored in the hidden Optimization Replay attribute of the XML plan.</a:t>
          </a:r>
          <a:endParaRPr lang="en-US" sz="2400" b="1" kern="1200" dirty="0">
            <a:latin typeface="+mn-lt"/>
          </a:endParaRPr>
        </a:p>
        <a:p>
          <a:pPr marL="228600" lvl="1" indent="-228600" algn="l" defTabSz="1066800">
            <a:lnSpc>
              <a:spcPct val="90000"/>
            </a:lnSpc>
            <a:spcBef>
              <a:spcPct val="0"/>
            </a:spcBef>
            <a:spcAft>
              <a:spcPct val="20000"/>
            </a:spcAft>
            <a:buChar char="•"/>
          </a:pPr>
          <a:r>
            <a:rPr lang="en-US" sz="2400" kern="1200" dirty="0">
              <a:latin typeface="+mn-lt"/>
              <a:cs typeface="Segoe UI" panose="020B0502040204020203" pitchFamily="34" charset="0"/>
            </a:rPr>
            <a:t>Targets previously forced plans through Query Store and Automatic Plan Correction</a:t>
          </a:r>
        </a:p>
        <a:p>
          <a:pPr marL="228600" lvl="1" indent="-228600" algn="l" defTabSz="1066800">
            <a:lnSpc>
              <a:spcPct val="90000"/>
            </a:lnSpc>
            <a:spcBef>
              <a:spcPct val="0"/>
            </a:spcBef>
            <a:spcAft>
              <a:spcPct val="20000"/>
            </a:spcAft>
            <a:buChar char="•"/>
          </a:pPr>
          <a:r>
            <a:rPr lang="en-US" sz="2400" b="0" i="0" kern="1200" dirty="0">
              <a:latin typeface="+mn-lt"/>
            </a:rPr>
            <a:t>Uses those previously-recorded CRS to quickly reproduce and cache the original forced plan </a:t>
          </a:r>
          <a:r>
            <a:rPr lang="en-US" sz="2400" b="1" i="0" kern="1200" dirty="0">
              <a:latin typeface="+mn-lt"/>
            </a:rPr>
            <a:t>at a fraction of the original compilation cost</a:t>
          </a:r>
          <a:endParaRPr lang="en-US" sz="2400" kern="1200" dirty="0">
            <a:latin typeface="+mn-lt"/>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dirty="0">
              <a:latin typeface="+mn-lt"/>
              <a:cs typeface="Segoe UI" panose="020B0502040204020203" pitchFamily="34" charset="0"/>
            </a:rPr>
            <a:t>Compatible with Query Store hints and secondary replica support</a:t>
          </a:r>
        </a:p>
      </dsp:txBody>
      <dsp:txXfrm>
        <a:off x="0" y="1286318"/>
        <a:ext cx="11144474" cy="351084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0619E6-35CF-4F1E-B47B-52C04D4F0756}">
      <dsp:nvSpPr>
        <dsp:cNvPr id="0" name=""/>
        <dsp:cNvSpPr/>
      </dsp:nvSpPr>
      <dsp:spPr>
        <a:xfrm>
          <a:off x="0" y="35278"/>
          <a:ext cx="11144474" cy="1216800"/>
        </a:xfrm>
        <a:prstGeom prst="round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n-lt"/>
              <a:cs typeface="Segoe UI" panose="020B0502040204020203" pitchFamily="34" charset="0"/>
            </a:rPr>
            <a:t>Considerations</a:t>
          </a:r>
        </a:p>
      </dsp:txBody>
      <dsp:txXfrm>
        <a:off x="59399" y="94677"/>
        <a:ext cx="11025676" cy="1098002"/>
      </dsp:txXfrm>
    </dsp:sp>
    <dsp:sp modelId="{867817E1-5D9A-4EEB-A4C7-4819155E9A81}">
      <dsp:nvSpPr>
        <dsp:cNvPr id="0" name=""/>
        <dsp:cNvSpPr/>
      </dsp:nvSpPr>
      <dsp:spPr>
        <a:xfrm>
          <a:off x="0" y="1310371"/>
          <a:ext cx="11144474" cy="12445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837" tIns="30480" rIns="170688" bIns="30480" numCol="1" spcCol="1270" anchor="t" anchorCtr="0">
          <a:noAutofit/>
        </a:bodyPr>
        <a:lstStyle/>
        <a:p>
          <a:pPr marL="228600" lvl="1" indent="-228600" algn="l" defTabSz="1066800">
            <a:lnSpc>
              <a:spcPct val="90000"/>
            </a:lnSpc>
            <a:spcBef>
              <a:spcPct val="0"/>
            </a:spcBef>
            <a:spcAft>
              <a:spcPct val="20000"/>
            </a:spcAft>
            <a:buFont typeface="Arial" panose="020B0604020202020204" pitchFamily="34" charset="0"/>
            <a:buChar char="•"/>
          </a:pPr>
          <a:r>
            <a:rPr lang="en-US" sz="2400" b="0" i="0" kern="1200" dirty="0"/>
            <a:t> Only query plans that go through full optimization are eligible, which can be verified by the presence of the </a:t>
          </a:r>
          <a:r>
            <a:rPr lang="en-US" sz="2400" b="0" i="0" kern="1200" dirty="0" err="1"/>
            <a:t>StatementOptmLevel</a:t>
          </a:r>
          <a:r>
            <a:rPr lang="en-US" sz="2400" b="0" i="0" kern="1200" dirty="0"/>
            <a:t>="FULL" property.</a:t>
          </a:r>
          <a:endParaRPr lang="en-US" sz="2400" kern="1200" dirty="0">
            <a:latin typeface="+mn-lt"/>
            <a:cs typeface="Segoe UI" panose="020B0502040204020203" pitchFamily="34" charset="0"/>
          </a:endParaRPr>
        </a:p>
        <a:p>
          <a:pPr marL="228600" lvl="1" indent="-228600" algn="l" defTabSz="1066800">
            <a:lnSpc>
              <a:spcPct val="90000"/>
            </a:lnSpc>
            <a:spcBef>
              <a:spcPct val="0"/>
            </a:spcBef>
            <a:spcAft>
              <a:spcPct val="20000"/>
            </a:spcAft>
            <a:buFont typeface="Arial" panose="020B0604020202020204" pitchFamily="34" charset="0"/>
            <a:buChar char="•"/>
          </a:pPr>
          <a:r>
            <a:rPr lang="en-US" sz="2400" b="0" i="0" kern="1200" dirty="0"/>
            <a:t> Statements with RECOMPILE hint and distributed queries are not eligible.</a:t>
          </a:r>
        </a:p>
      </dsp:txBody>
      <dsp:txXfrm>
        <a:off x="0" y="1310371"/>
        <a:ext cx="11144474" cy="1244587"/>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44146"/>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64550"/>
        <a:ext cx="1004180" cy="655850"/>
      </dsp:txXfrm>
    </dsp:sp>
    <dsp:sp modelId="{2A969FB1-A0CA-4BCB-9811-B1C2A2D37CF2}">
      <dsp:nvSpPr>
        <dsp:cNvPr id="0" name=""/>
        <dsp:cNvSpPr/>
      </dsp:nvSpPr>
      <dsp:spPr>
        <a:xfrm>
          <a:off x="3244411" y="2440805"/>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71946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39872"/>
        <a:ext cx="1004180" cy="655850"/>
      </dsp:txXfrm>
    </dsp:sp>
    <dsp:sp modelId="{9B0BC5A7-6A70-41C3-871D-416E6CE7FB15}">
      <dsp:nvSpPr>
        <dsp:cNvPr id="0" name=""/>
        <dsp:cNvSpPr/>
      </dsp:nvSpPr>
      <dsp:spPr>
        <a:xfrm>
          <a:off x="527442" y="3416127"/>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94791"/>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715195"/>
        <a:ext cx="1004180" cy="655850"/>
      </dsp:txXfrm>
    </dsp:sp>
    <dsp:sp modelId="{52433208-80E6-4924-B192-66BA710CE757}">
      <dsp:nvSpPr>
        <dsp:cNvPr id="0" name=""/>
        <dsp:cNvSpPr/>
      </dsp:nvSpPr>
      <dsp:spPr>
        <a:xfrm>
          <a:off x="1885927" y="3416127"/>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94791"/>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715195"/>
        <a:ext cx="1004180" cy="655850"/>
      </dsp:txXfrm>
    </dsp:sp>
    <dsp:sp modelId="{BF248486-F648-4871-903F-93B482640036}">
      <dsp:nvSpPr>
        <dsp:cNvPr id="0" name=""/>
        <dsp:cNvSpPr/>
      </dsp:nvSpPr>
      <dsp:spPr>
        <a:xfrm>
          <a:off x="3198691" y="3416127"/>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94791"/>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715195"/>
        <a:ext cx="1004180" cy="655850"/>
      </dsp:txXfrm>
    </dsp:sp>
    <dsp:sp modelId="{5690923D-9059-4138-8ACF-90D405019F80}">
      <dsp:nvSpPr>
        <dsp:cNvPr id="0" name=""/>
        <dsp:cNvSpPr/>
      </dsp:nvSpPr>
      <dsp:spPr>
        <a:xfrm>
          <a:off x="1885927" y="4391450"/>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7011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90517"/>
        <a:ext cx="1004180" cy="655850"/>
      </dsp:txXfrm>
    </dsp:sp>
    <dsp:sp modelId="{810926B5-7D25-4DDF-8B56-5D578BE910C7}">
      <dsp:nvSpPr>
        <dsp:cNvPr id="0" name=""/>
        <dsp:cNvSpPr/>
      </dsp:nvSpPr>
      <dsp:spPr>
        <a:xfrm>
          <a:off x="3198691" y="4391450"/>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7011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90517"/>
        <a:ext cx="1004180" cy="655850"/>
      </dsp:txXfrm>
    </dsp:sp>
    <dsp:sp modelId="{5CC0C396-8377-475C-A00D-7F8341A1F477}">
      <dsp:nvSpPr>
        <dsp:cNvPr id="0" name=""/>
        <dsp:cNvSpPr/>
      </dsp:nvSpPr>
      <dsp:spPr>
        <a:xfrm>
          <a:off x="3244411" y="4391450"/>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7011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90517"/>
        <a:ext cx="1004180" cy="655850"/>
      </dsp:txXfrm>
    </dsp:sp>
    <dsp:sp modelId="{D0464A9B-83F7-4A2D-94B3-57ED5F3C091B}">
      <dsp:nvSpPr>
        <dsp:cNvPr id="0" name=""/>
        <dsp:cNvSpPr/>
      </dsp:nvSpPr>
      <dsp:spPr>
        <a:xfrm>
          <a:off x="3244411" y="3416127"/>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715195"/>
        <a:ext cx="1004180" cy="655850"/>
      </dsp:txXfrm>
    </dsp:sp>
    <dsp:sp modelId="{BC3E3219-39C3-4268-83EE-67E130107410}">
      <dsp:nvSpPr>
        <dsp:cNvPr id="0" name=""/>
        <dsp:cNvSpPr/>
      </dsp:nvSpPr>
      <dsp:spPr>
        <a:xfrm>
          <a:off x="3244411" y="3416127"/>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715195"/>
        <a:ext cx="1004180" cy="655850"/>
      </dsp:txXfrm>
    </dsp:sp>
    <dsp:sp modelId="{54FE398B-EB4B-4376-8CAD-D5884C340DB3}">
      <dsp:nvSpPr>
        <dsp:cNvPr id="0" name=""/>
        <dsp:cNvSpPr/>
      </dsp:nvSpPr>
      <dsp:spPr>
        <a:xfrm>
          <a:off x="4602896" y="2440805"/>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39872"/>
        <a:ext cx="1004180" cy="655850"/>
      </dsp:txXfrm>
    </dsp:sp>
    <dsp:sp modelId="{54FC7E62-6BC8-4117-AE83-F7D461A58C56}">
      <dsp:nvSpPr>
        <dsp:cNvPr id="0" name=""/>
        <dsp:cNvSpPr/>
      </dsp:nvSpPr>
      <dsp:spPr>
        <a:xfrm>
          <a:off x="5961381" y="2440805"/>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39872"/>
        <a:ext cx="1004180" cy="655850"/>
      </dsp:txXfrm>
    </dsp:sp>
    <dsp:sp modelId="{8348335F-5BEF-45E6-9491-BE36F00A5827}">
      <dsp:nvSpPr>
        <dsp:cNvPr id="0" name=""/>
        <dsp:cNvSpPr/>
      </dsp:nvSpPr>
      <dsp:spPr>
        <a:xfrm>
          <a:off x="7274145" y="2440805"/>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39872"/>
        <a:ext cx="1004180" cy="655850"/>
      </dsp:txXfrm>
    </dsp:sp>
    <dsp:sp modelId="{6BEB96AB-5069-4522-8BFE-22AE1E1907A1}">
      <dsp:nvSpPr>
        <dsp:cNvPr id="0" name=""/>
        <dsp:cNvSpPr/>
      </dsp:nvSpPr>
      <dsp:spPr>
        <a:xfrm>
          <a:off x="7319865" y="2440805"/>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39872"/>
        <a:ext cx="1004180" cy="655850"/>
      </dsp:txXfrm>
    </dsp:sp>
    <dsp:sp modelId="{29F63BC1-C5FC-44AA-8F97-ECEF56FF0ECF}">
      <dsp:nvSpPr>
        <dsp:cNvPr id="0" name=""/>
        <dsp:cNvSpPr/>
      </dsp:nvSpPr>
      <dsp:spPr>
        <a:xfrm>
          <a:off x="7999107" y="3416127"/>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94791"/>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715195"/>
        <a:ext cx="1004180" cy="655850"/>
      </dsp:txXfrm>
    </dsp:sp>
    <dsp:sp modelId="{A1CDEA6C-5A4D-425A-B7B4-C84037695A33}">
      <dsp:nvSpPr>
        <dsp:cNvPr id="0" name=""/>
        <dsp:cNvSpPr/>
      </dsp:nvSpPr>
      <dsp:spPr>
        <a:xfrm>
          <a:off x="8678350" y="3416127"/>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715195"/>
        <a:ext cx="1004180" cy="655850"/>
      </dsp:txXfrm>
    </dsp:sp>
    <dsp:sp modelId="{12BB4D1C-4932-4FB5-A5B3-D9E9B7872BE0}">
      <dsp:nvSpPr>
        <dsp:cNvPr id="0" name=""/>
        <dsp:cNvSpPr/>
      </dsp:nvSpPr>
      <dsp:spPr>
        <a:xfrm>
          <a:off x="7319865" y="2440805"/>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11711BDA-6E88-4B70-AD55-C75947559D72}">
      <dsp:nvSpPr>
        <dsp:cNvPr id="0" name=""/>
        <dsp:cNvSpPr/>
      </dsp:nvSpPr>
      <dsp:spPr>
        <a:xfrm>
          <a:off x="9514340" y="27194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39872"/>
        <a:ext cx="1004180" cy="655850"/>
      </dsp:txXfrm>
    </dsp:sp>
    <dsp:sp modelId="{09C8B667-CAD7-4DC0-985B-9B8F058B52AE}">
      <dsp:nvSpPr>
        <dsp:cNvPr id="0" name=""/>
        <dsp:cNvSpPr/>
      </dsp:nvSpPr>
      <dsp:spPr>
        <a:xfrm>
          <a:off x="7319865" y="2440805"/>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7194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39872"/>
        <a:ext cx="1004180" cy="6558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722D08-C011-4DD1-8142-126293CB9841}">
      <dsp:nvSpPr>
        <dsp:cNvPr id="0" name=""/>
        <dsp:cNvSpPr/>
      </dsp:nvSpPr>
      <dsp:spPr>
        <a:xfrm rot="5400000">
          <a:off x="7206189" y="-2885783"/>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4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30 or lower</a:t>
          </a:r>
          <a:endParaRPr lang="en-US" sz="2200" kern="1200"/>
        </a:p>
      </dsp:txBody>
      <dsp:txXfrm rot="-5400000">
        <a:off x="4156647" y="226757"/>
        <a:ext cx="7326598" cy="1164516"/>
      </dsp:txXfrm>
    </dsp:sp>
    <dsp:sp modelId="{218FD34E-2541-406A-A55B-A25B88950A10}">
      <dsp:nvSpPr>
        <dsp:cNvPr id="0" name=""/>
        <dsp:cNvSpPr/>
      </dsp:nvSpPr>
      <dsp:spPr>
        <a:xfrm>
          <a:off x="0" y="2444"/>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7 Features</a:t>
          </a:r>
          <a:endParaRPr lang="en-US" sz="4200" kern="1200"/>
        </a:p>
      </dsp:txBody>
      <dsp:txXfrm>
        <a:off x="78747" y="81191"/>
        <a:ext cx="3999153" cy="1455647"/>
      </dsp:txXfrm>
    </dsp:sp>
    <dsp:sp modelId="{57B402D0-3813-4A24-A54B-61124215544D}">
      <dsp:nvSpPr>
        <dsp:cNvPr id="0" name=""/>
        <dsp:cNvSpPr/>
      </dsp:nvSpPr>
      <dsp:spPr>
        <a:xfrm rot="5400000">
          <a:off x="7206189" y="-1191985"/>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5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40 or lower</a:t>
          </a:r>
          <a:endParaRPr lang="en-US" sz="2200" kern="1200"/>
        </a:p>
      </dsp:txBody>
      <dsp:txXfrm rot="-5400000">
        <a:off x="4156647" y="1920555"/>
        <a:ext cx="7326598" cy="1164516"/>
      </dsp:txXfrm>
    </dsp:sp>
    <dsp:sp modelId="{2CEAB421-F7F0-4DBA-8BC0-61523C870BAD}">
      <dsp:nvSpPr>
        <dsp:cNvPr id="0" name=""/>
        <dsp:cNvSpPr/>
      </dsp:nvSpPr>
      <dsp:spPr>
        <a:xfrm>
          <a:off x="0" y="1696242"/>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9 Features</a:t>
          </a:r>
          <a:endParaRPr lang="en-US" sz="4200" kern="1200"/>
        </a:p>
      </dsp:txBody>
      <dsp:txXfrm>
        <a:off x="78747" y="1774989"/>
        <a:ext cx="3999153" cy="1455647"/>
      </dsp:txXfrm>
    </dsp:sp>
    <dsp:sp modelId="{626A19CE-ED32-4563-82E3-899C299E48A3}">
      <dsp:nvSpPr>
        <dsp:cNvPr id="0" name=""/>
        <dsp:cNvSpPr/>
      </dsp:nvSpPr>
      <dsp:spPr>
        <a:xfrm rot="5400000">
          <a:off x="7206189" y="501813"/>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6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50 or lower</a:t>
          </a:r>
          <a:endParaRPr lang="en-US" sz="2200" kern="1200"/>
        </a:p>
      </dsp:txBody>
      <dsp:txXfrm rot="-5400000">
        <a:off x="4156647" y="3614353"/>
        <a:ext cx="7326598" cy="1164516"/>
      </dsp:txXfrm>
    </dsp:sp>
    <dsp:sp modelId="{5B24DDF3-44E0-40FF-B14A-8F8A9E374E17}">
      <dsp:nvSpPr>
        <dsp:cNvPr id="0" name=""/>
        <dsp:cNvSpPr/>
      </dsp:nvSpPr>
      <dsp:spPr>
        <a:xfrm>
          <a:off x="0" y="3390040"/>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22 Features</a:t>
          </a:r>
          <a:endParaRPr lang="en-US" sz="4200" kern="1200"/>
        </a:p>
      </dsp:txBody>
      <dsp:txXfrm>
        <a:off x="78747" y="3468787"/>
        <a:ext cx="3999153" cy="14556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5058854" y="73135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5089239" y="761738"/>
        <a:ext cx="1495362" cy="976651"/>
      </dsp:txXfrm>
    </dsp:sp>
    <dsp:sp modelId="{54FE398B-EB4B-4376-8CAD-D5884C340DB3}">
      <dsp:nvSpPr>
        <dsp:cNvPr id="0" name=""/>
        <dsp:cNvSpPr/>
      </dsp:nvSpPr>
      <dsp:spPr>
        <a:xfrm>
          <a:off x="779491" y="1768774"/>
          <a:ext cx="5057429" cy="414968"/>
        </a:xfrm>
        <a:custGeom>
          <a:avLst/>
          <a:gdLst/>
          <a:ahLst/>
          <a:cxnLst/>
          <a:rect l="0" t="0" r="0" b="0"/>
          <a:pathLst>
            <a:path>
              <a:moveTo>
                <a:pt x="5057429" y="0"/>
              </a:moveTo>
              <a:lnTo>
                <a:pt x="5057429"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5"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31810" y="2214128"/>
        <a:ext cx="1495362" cy="976651"/>
      </dsp:txXfrm>
    </dsp:sp>
    <dsp:sp modelId="{54FC7E62-6BC8-4117-AE83-F7D461A58C56}">
      <dsp:nvSpPr>
        <dsp:cNvPr id="0" name=""/>
        <dsp:cNvSpPr/>
      </dsp:nvSpPr>
      <dsp:spPr>
        <a:xfrm>
          <a:off x="2802463" y="1768774"/>
          <a:ext cx="3034457" cy="414968"/>
        </a:xfrm>
        <a:custGeom>
          <a:avLst/>
          <a:gdLst/>
          <a:ahLst/>
          <a:cxnLst/>
          <a:rect l="0" t="0" r="0" b="0"/>
          <a:pathLst>
            <a:path>
              <a:moveTo>
                <a:pt x="3034457" y="0"/>
              </a:moveTo>
              <a:lnTo>
                <a:pt x="3034457"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024396"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2054781" y="2214128"/>
        <a:ext cx="1495362" cy="976651"/>
      </dsp:txXfrm>
    </dsp:sp>
    <dsp:sp modelId="{8348335F-5BEF-45E6-9491-BE36F00A5827}">
      <dsp:nvSpPr>
        <dsp:cNvPr id="0" name=""/>
        <dsp:cNvSpPr/>
      </dsp:nvSpPr>
      <dsp:spPr>
        <a:xfrm>
          <a:off x="4825435" y="1768774"/>
          <a:ext cx="1011485" cy="414968"/>
        </a:xfrm>
        <a:custGeom>
          <a:avLst/>
          <a:gdLst/>
          <a:ahLst/>
          <a:cxnLst/>
          <a:rect l="0" t="0" r="0" b="0"/>
          <a:pathLst>
            <a:path>
              <a:moveTo>
                <a:pt x="1011485" y="0"/>
              </a:moveTo>
              <a:lnTo>
                <a:pt x="1011485"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4047368"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4077753" y="2214128"/>
        <a:ext cx="1495362" cy="976651"/>
      </dsp:txXfrm>
    </dsp:sp>
    <dsp:sp modelId="{6BEB96AB-5069-4522-8BFE-22AE1E1907A1}">
      <dsp:nvSpPr>
        <dsp:cNvPr id="0" name=""/>
        <dsp:cNvSpPr/>
      </dsp:nvSpPr>
      <dsp:spPr>
        <a:xfrm>
          <a:off x="5836921" y="1768774"/>
          <a:ext cx="1011485" cy="414968"/>
        </a:xfrm>
        <a:custGeom>
          <a:avLst/>
          <a:gdLst/>
          <a:ahLst/>
          <a:cxnLst/>
          <a:rect l="0" t="0" r="0" b="0"/>
          <a:pathLst>
            <a:path>
              <a:moveTo>
                <a:pt x="0" y="0"/>
              </a:moveTo>
              <a:lnTo>
                <a:pt x="0" y="207484"/>
              </a:lnTo>
              <a:lnTo>
                <a:pt x="1011485" y="207484"/>
              </a:lnTo>
              <a:lnTo>
                <a:pt x="1011485"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6070340"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6100725" y="2214128"/>
        <a:ext cx="1495362" cy="976651"/>
      </dsp:txXfrm>
    </dsp:sp>
    <dsp:sp modelId="{29F63BC1-C5FC-44AA-8F97-ECEF56FF0ECF}">
      <dsp:nvSpPr>
        <dsp:cNvPr id="0" name=""/>
        <dsp:cNvSpPr/>
      </dsp:nvSpPr>
      <dsp:spPr>
        <a:xfrm>
          <a:off x="5836921" y="3221164"/>
          <a:ext cx="1011485" cy="414968"/>
        </a:xfrm>
        <a:custGeom>
          <a:avLst/>
          <a:gdLst/>
          <a:ahLst/>
          <a:cxnLst/>
          <a:rect l="0" t="0" r="0" b="0"/>
          <a:pathLst>
            <a:path>
              <a:moveTo>
                <a:pt x="1011485" y="0"/>
              </a:moveTo>
              <a:lnTo>
                <a:pt x="1011485" y="207484"/>
              </a:lnTo>
              <a:lnTo>
                <a:pt x="0" y="207484"/>
              </a:lnTo>
              <a:lnTo>
                <a:pt x="0" y="41496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5058854" y="363613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5089239" y="3666518"/>
        <a:ext cx="1495362" cy="976651"/>
      </dsp:txXfrm>
    </dsp:sp>
    <dsp:sp modelId="{889A4762-3DAB-4D3A-970C-9B5EB089C878}">
      <dsp:nvSpPr>
        <dsp:cNvPr id="0" name=""/>
        <dsp:cNvSpPr/>
      </dsp:nvSpPr>
      <dsp:spPr>
        <a:xfrm>
          <a:off x="6848406" y="3221164"/>
          <a:ext cx="1011485" cy="414968"/>
        </a:xfrm>
        <a:custGeom>
          <a:avLst/>
          <a:gdLst/>
          <a:ahLst/>
          <a:cxnLst/>
          <a:rect l="0" t="0" r="0" b="0"/>
          <a:pathLst>
            <a:path>
              <a:moveTo>
                <a:pt x="0" y="0"/>
              </a:moveTo>
              <a:lnTo>
                <a:pt x="0" y="207484"/>
              </a:lnTo>
              <a:lnTo>
                <a:pt x="1011485" y="207484"/>
              </a:lnTo>
              <a:lnTo>
                <a:pt x="1011485" y="41496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7081826" y="3636133"/>
          <a:ext cx="1556132" cy="103742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Percentile</a:t>
          </a:r>
        </a:p>
      </dsp:txBody>
      <dsp:txXfrm>
        <a:off x="7112211" y="3666518"/>
        <a:ext cx="1495362" cy="976651"/>
      </dsp:txXfrm>
    </dsp:sp>
    <dsp:sp modelId="{79E74D5E-EF10-47B0-A9D3-2293E202AE2C}">
      <dsp:nvSpPr>
        <dsp:cNvPr id="0" name=""/>
        <dsp:cNvSpPr/>
      </dsp:nvSpPr>
      <dsp:spPr>
        <a:xfrm>
          <a:off x="5836921" y="1768774"/>
          <a:ext cx="3034457" cy="414968"/>
        </a:xfrm>
        <a:custGeom>
          <a:avLst/>
          <a:gdLst/>
          <a:ahLst/>
          <a:cxnLst/>
          <a:rect l="0" t="0" r="0" b="0"/>
          <a:pathLst>
            <a:path>
              <a:moveTo>
                <a:pt x="0" y="0"/>
              </a:moveTo>
              <a:lnTo>
                <a:pt x="0" y="207484"/>
              </a:lnTo>
              <a:lnTo>
                <a:pt x="3034457" y="207484"/>
              </a:lnTo>
              <a:lnTo>
                <a:pt x="3034457"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F65BB58-1B93-4E6B-B945-953C7DA0DB73}">
      <dsp:nvSpPr>
        <dsp:cNvPr id="0" name=""/>
        <dsp:cNvSpPr/>
      </dsp:nvSpPr>
      <dsp:spPr>
        <a:xfrm>
          <a:off x="8093312" y="2183743"/>
          <a:ext cx="1556132" cy="103742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timized Plan Forcing</a:t>
          </a:r>
        </a:p>
      </dsp:txBody>
      <dsp:txXfrm>
        <a:off x="8123697" y="2214128"/>
        <a:ext cx="1495362" cy="976651"/>
      </dsp:txXfrm>
    </dsp:sp>
    <dsp:sp modelId="{7AA21635-E323-4213-93F2-9043E3D4FE8B}">
      <dsp:nvSpPr>
        <dsp:cNvPr id="0" name=""/>
        <dsp:cNvSpPr/>
      </dsp:nvSpPr>
      <dsp:spPr>
        <a:xfrm>
          <a:off x="5836921" y="1768774"/>
          <a:ext cx="5057429" cy="414968"/>
        </a:xfrm>
        <a:custGeom>
          <a:avLst/>
          <a:gdLst/>
          <a:ahLst/>
          <a:cxnLst/>
          <a:rect l="0" t="0" r="0" b="0"/>
          <a:pathLst>
            <a:path>
              <a:moveTo>
                <a:pt x="0" y="0"/>
              </a:moveTo>
              <a:lnTo>
                <a:pt x="0" y="207484"/>
              </a:lnTo>
              <a:lnTo>
                <a:pt x="5057429" y="207484"/>
              </a:lnTo>
              <a:lnTo>
                <a:pt x="5057429"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0EFB09A-C2CB-4EC8-A783-B2648B63E9CB}">
      <dsp:nvSpPr>
        <dsp:cNvPr id="0" name=""/>
        <dsp:cNvSpPr/>
      </dsp:nvSpPr>
      <dsp:spPr>
        <a:xfrm>
          <a:off x="10116284" y="2183743"/>
          <a:ext cx="1556132" cy="10060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Parameter Sensitive Plan Optimization</a:t>
          </a:r>
        </a:p>
      </dsp:txBody>
      <dsp:txXfrm>
        <a:off x="10145751" y="2213210"/>
        <a:ext cx="1497198" cy="94715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88546"/>
          <a:ext cx="11144474" cy="1850625"/>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520700"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b="0" i="0" kern="1200" dirty="0"/>
            <a:t>Query optimization and compilation is a multi-phased process of quickly generating a “good-enough” query execution plan</a:t>
          </a:r>
          <a:endParaRPr lang="en-US" sz="1800" b="0" kern="1200" dirty="0"/>
        </a:p>
        <a:p>
          <a:pPr marL="171450" lvl="1" indent="-171450" algn="l" defTabSz="800100">
            <a:lnSpc>
              <a:spcPct val="90000"/>
            </a:lnSpc>
            <a:spcBef>
              <a:spcPct val="0"/>
            </a:spcBef>
            <a:spcAft>
              <a:spcPct val="15000"/>
            </a:spcAft>
            <a:buChar char="•"/>
          </a:pPr>
          <a:r>
            <a:rPr lang="en-US" sz="1800" b="0" i="0" kern="1200" dirty="0"/>
            <a:t>Query execution time includes compilation. Can be time and resource consuming</a:t>
          </a:r>
          <a:endParaRPr lang="en-US" sz="1800" kern="1200" dirty="0">
            <a:latin typeface="Segoe UI" panose="020B0502040204020203" pitchFamily="34" charset="0"/>
            <a:cs typeface="Segoe UI" panose="020B0502040204020203" pitchFamily="34" charset="0"/>
          </a:endParaRPr>
        </a:p>
        <a:p>
          <a:pPr marL="171450" lvl="1" indent="-171450" algn="l" defTabSz="800100">
            <a:lnSpc>
              <a:spcPct val="90000"/>
            </a:lnSpc>
            <a:spcBef>
              <a:spcPct val="0"/>
            </a:spcBef>
            <a:spcAft>
              <a:spcPct val="15000"/>
            </a:spcAft>
            <a:buChar char="•"/>
          </a:pPr>
          <a:r>
            <a:rPr lang="en-US" sz="1800" b="0" i="0" kern="1200" dirty="0"/>
            <a:t>To reduce compilation overhead for repeating queries, SQL caches query plans for re-use</a:t>
          </a:r>
          <a:endParaRPr lang="en-US" sz="1800" kern="1200" dirty="0">
            <a:latin typeface="Segoe UI" panose="020B0502040204020203" pitchFamily="34" charset="0"/>
            <a:cs typeface="Segoe UI" panose="020B0502040204020203" pitchFamily="34" charset="0"/>
          </a:endParaRPr>
        </a:p>
      </dsp:txBody>
      <dsp:txXfrm>
        <a:off x="0" y="388546"/>
        <a:ext cx="11144474" cy="1850625"/>
      </dsp:txXfrm>
    </dsp:sp>
    <dsp:sp modelId="{09DF4224-3D80-47D7-B2BA-0A0BBC33BA22}">
      <dsp:nvSpPr>
        <dsp:cNvPr id="0" name=""/>
        <dsp:cNvSpPr/>
      </dsp:nvSpPr>
      <dsp:spPr>
        <a:xfrm>
          <a:off x="557223" y="19546"/>
          <a:ext cx="7801131" cy="738000"/>
        </a:xfrm>
        <a:prstGeom prst="round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1066800">
            <a:lnSpc>
              <a:spcPct val="90000"/>
            </a:lnSpc>
            <a:spcBef>
              <a:spcPct val="0"/>
            </a:spcBef>
            <a:spcAft>
              <a:spcPct val="35000"/>
            </a:spcAft>
            <a:buNone/>
          </a:pPr>
          <a:r>
            <a:rPr lang="en-US" sz="2400" b="1" kern="1200" dirty="0"/>
            <a:t>Query Compilation Today</a:t>
          </a:r>
        </a:p>
      </dsp:txBody>
      <dsp:txXfrm>
        <a:off x="593249" y="55572"/>
        <a:ext cx="7729079" cy="66594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7240B6-7431-4D5B-9770-7BBD09BEEFA0}">
      <dsp:nvSpPr>
        <dsp:cNvPr id="0" name=""/>
        <dsp:cNvSpPr/>
      </dsp:nvSpPr>
      <dsp:spPr>
        <a:xfrm>
          <a:off x="752214" y="884579"/>
          <a:ext cx="2546593" cy="165528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Plans can be evicted from cache due to restarts or memory pressure</a:t>
          </a:r>
          <a:endParaRPr lang="en-US" sz="1600" kern="1200" dirty="0">
            <a:latin typeface="Segoe UI" panose="020B0502040204020203" pitchFamily="34" charset="0"/>
            <a:cs typeface="Segoe UI" panose="020B0502040204020203" pitchFamily="34" charset="0"/>
          </a:endParaRPr>
        </a:p>
      </dsp:txBody>
      <dsp:txXfrm>
        <a:off x="833018" y="965383"/>
        <a:ext cx="2384985" cy="1493677"/>
      </dsp:txXfrm>
    </dsp:sp>
    <dsp:sp modelId="{F199BF73-C33E-4EB4-A900-D6729BE99A24}">
      <dsp:nvSpPr>
        <dsp:cNvPr id="0" name=""/>
        <dsp:cNvSpPr/>
      </dsp:nvSpPr>
      <dsp:spPr>
        <a:xfrm>
          <a:off x="2025510" y="306533"/>
          <a:ext cx="2811376" cy="2811376"/>
        </a:xfrm>
        <a:custGeom>
          <a:avLst/>
          <a:gdLst/>
          <a:ahLst/>
          <a:cxnLst/>
          <a:rect l="0" t="0" r="0" b="0"/>
          <a:pathLst>
            <a:path>
              <a:moveTo>
                <a:pt x="591304" y="259940"/>
              </a:moveTo>
              <a:arcTo wR="1405688" hR="1405688" stAng="14075715" swAng="4248569"/>
            </a:path>
          </a:pathLst>
        </a:custGeom>
        <a:noFill/>
        <a:ln w="9525" cap="flat" cmpd="sng" algn="ctr">
          <a:solidFill>
            <a:schemeClr val="accent5">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286F8BD2-898A-4C98-8968-C54AFB0ACCD0}">
      <dsp:nvSpPr>
        <dsp:cNvPr id="0" name=""/>
        <dsp:cNvSpPr/>
      </dsp:nvSpPr>
      <dsp:spPr>
        <a:xfrm>
          <a:off x="3563590" y="884579"/>
          <a:ext cx="2546593" cy="1655285"/>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t>Subsequent calls to the query require a full new compilation</a:t>
          </a:r>
          <a:endParaRPr lang="en-US" sz="1600" kern="1200" dirty="0">
            <a:latin typeface="Segoe UI" panose="020B0502040204020203" pitchFamily="34" charset="0"/>
            <a:cs typeface="Segoe UI" panose="020B0502040204020203" pitchFamily="34" charset="0"/>
          </a:endParaRPr>
        </a:p>
      </dsp:txBody>
      <dsp:txXfrm>
        <a:off x="3644394" y="965383"/>
        <a:ext cx="2384985" cy="1493677"/>
      </dsp:txXfrm>
    </dsp:sp>
    <dsp:sp modelId="{0F332F37-F7B9-4F1F-85F7-35ACAAD08A55}">
      <dsp:nvSpPr>
        <dsp:cNvPr id="0" name=""/>
        <dsp:cNvSpPr/>
      </dsp:nvSpPr>
      <dsp:spPr>
        <a:xfrm>
          <a:off x="2025510" y="306533"/>
          <a:ext cx="2811376" cy="2811376"/>
        </a:xfrm>
        <a:custGeom>
          <a:avLst/>
          <a:gdLst/>
          <a:ahLst/>
          <a:cxnLst/>
          <a:rect l="0" t="0" r="0" b="0"/>
          <a:pathLst>
            <a:path>
              <a:moveTo>
                <a:pt x="2220072" y="2551436"/>
              </a:moveTo>
              <a:arcTo wR="1405688" hR="1405688" stAng="3275715" swAng="4248569"/>
            </a:path>
          </a:pathLst>
        </a:custGeom>
        <a:noFill/>
        <a:ln w="9525" cap="flat" cmpd="sng" algn="ctr">
          <a:solidFill>
            <a:schemeClr val="accent5">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7/3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47306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1842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013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2022 12:42 P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906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446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795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817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2304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7239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295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6.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97511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956297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629700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262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370381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31861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730078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97823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55259825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613689"/>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809331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82739820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981309868"/>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46677409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7603365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8645075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01361129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405012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63446089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0555248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8606987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7/31/2022</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2082194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7095854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289225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765611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91725470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3898994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539996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693155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07303386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86243076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216999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35825012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12540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2874070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896036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28313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802887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81028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188840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5523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137690822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59719502"/>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80496171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17560020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7/31/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40456357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9718466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592213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013765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550370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680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40835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6921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1863172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3939503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136164751"/>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4684372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61516629"/>
      </p:ext>
    </p:extLst>
  </p:cSld>
  <p:clrMapOvr>
    <a:masterClrMapping/>
  </p:clrMapOvr>
  <p:hf sldNum="0" hdr="0" ftr="0" dt="0"/>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28407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860690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7618931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461445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0983475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2" y="3962402"/>
            <a:ext cx="5943600" cy="307777"/>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90"/>
            <a:ext cx="2691631" cy="276999"/>
          </a:xfrm>
          <a:solidFill>
            <a:srgbClr val="E6E6E6">
              <a:alpha val="75000"/>
            </a:srgbClr>
          </a:solidFill>
        </p:spPr>
        <p:txBody>
          <a:bodyPr/>
          <a:lstStyle>
            <a:lvl1pPr marL="0" marR="0" indent="0" algn="r" defTabSz="93208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799"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21572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1916"/>
          </a:xfrm>
        </p:spPr>
        <p:txBody>
          <a:bodyPr wrap="square">
            <a:spAutoFit/>
          </a:bodyPr>
          <a:lstStyle>
            <a:lvl1pPr marL="0" indent="0">
              <a:buNone/>
              <a:defRPr/>
            </a:lvl1pPr>
            <a:lvl2pPr marL="228440" indent="0">
              <a:buNone/>
              <a:defRPr/>
            </a:lvl2pPr>
            <a:lvl3pPr marL="456880" indent="0">
              <a:buNone/>
              <a:defRPr/>
            </a:lvl3pPr>
            <a:lvl4pPr marL="685320" indent="0">
              <a:buNone/>
              <a:defRPr/>
            </a:lvl4pPr>
            <a:lvl5pPr marL="91376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6653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208901904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199"/>
              </a:spcBef>
              <a:defRPr/>
            </a:lvl1pPr>
          </a:lstStyle>
          <a:p>
            <a:r>
              <a:rPr lang="en-US"/>
              <a:t>Click to edit Master title style</a:t>
            </a:r>
          </a:p>
        </p:txBody>
      </p:sp>
      <p:sp>
        <p:nvSpPr>
          <p:cNvPr id="3" name="Text Placeholder 2"/>
          <p:cNvSpPr>
            <a:spLocks noGrp="1"/>
          </p:cNvSpPr>
          <p:nvPr>
            <p:ph type="body" sz="quarter" idx="10"/>
          </p:nvPr>
        </p:nvSpPr>
        <p:spPr>
          <a:xfrm>
            <a:off x="584201" y="1435499"/>
            <a:ext cx="11018520" cy="1519903"/>
          </a:xfrm>
        </p:spPr>
        <p:txBody>
          <a:bodyPr/>
          <a:lstStyle>
            <a:lvl1pPr>
              <a:spcBef>
                <a:spcPts val="999"/>
              </a:spcBef>
              <a:defRPr sz="2200">
                <a:latin typeface="+mn-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05028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latin typeface="Segoe UI Semilight" panose="020B0402040204020203" pitchFamily="34" charset="0"/>
                <a:cs typeface="Segoe UI Semilight" panose="020B0402040204020203" pitchFamily="34" charset="0"/>
              </a:defRPr>
            </a:lvl1pPr>
            <a:lvl2pPr marL="255409" indent="0">
              <a:buFont typeface="Wingdings" panose="05000000000000000000" pitchFamily="2" charset="2"/>
              <a:buNone/>
              <a:defRPr sz="1999" b="0"/>
            </a:lvl2pPr>
            <a:lvl3pPr marL="450534" indent="0">
              <a:buFont typeface="Wingdings" panose="05000000000000000000" pitchFamily="2" charset="2"/>
              <a:buNone/>
              <a:tabLst/>
              <a:defRPr sz="1599" b="0"/>
            </a:lvl3pPr>
            <a:lvl4pPr marL="652005" indent="0">
              <a:buFont typeface="Wingdings" panose="05000000000000000000" pitchFamily="2" charset="2"/>
              <a:buNone/>
              <a:defRPr sz="1399" b="0"/>
            </a:lvl4pPr>
            <a:lvl5pPr marL="853477"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latin typeface="Segoe UI Semilight" panose="020B0402040204020203" pitchFamily="34" charset="0"/>
                <a:cs typeface="Segoe UI Semilight" panose="020B0402040204020203" pitchFamily="34" charset="0"/>
              </a:defRPr>
            </a:lvl1pPr>
            <a:lvl2pPr marL="255409" indent="0">
              <a:buFont typeface="Wingdings" panose="05000000000000000000" pitchFamily="2" charset="2"/>
              <a:buNone/>
              <a:defRPr sz="1999" b="0"/>
            </a:lvl2pPr>
            <a:lvl3pPr marL="450534" indent="0">
              <a:buFont typeface="Wingdings" panose="05000000000000000000" pitchFamily="2" charset="2"/>
              <a:buNone/>
              <a:tabLst/>
              <a:defRPr sz="1599" b="0"/>
            </a:lvl3pPr>
            <a:lvl4pPr marL="652005" indent="0">
              <a:buFont typeface="Wingdings" panose="05000000000000000000" pitchFamily="2" charset="2"/>
              <a:buNone/>
              <a:defRPr sz="1399" b="0"/>
            </a:lvl4pPr>
            <a:lvl5pPr marL="853477"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118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1792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435118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4355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89422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1999"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650608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2457455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329390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63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631280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3099670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2" y="1435100"/>
            <a:ext cx="11018838" cy="16119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2" y="-203944"/>
            <a:ext cx="577457" cy="153760"/>
          </a:xfrm>
          <a:prstGeom prst="rect">
            <a:avLst/>
          </a:prstGeom>
          <a:noFill/>
        </p:spPr>
        <p:txBody>
          <a:bodyPr wrap="none" lIns="0" tIns="0" rIns="0" bIns="0" rtlCol="0">
            <a:spAutoFit/>
          </a:bodyPr>
          <a:lstStyle/>
          <a:p>
            <a:pPr algn="l"/>
            <a:r>
              <a:rPr lang="en-US" sz="999">
                <a:solidFill>
                  <a:srgbClr val="A3A3A3"/>
                </a:solidFill>
              </a:rPr>
              <a:t>ELT layout</a:t>
            </a:r>
          </a:p>
        </p:txBody>
      </p:sp>
    </p:spTree>
    <p:extLst>
      <p:ext uri="{BB962C8B-B14F-4D97-AF65-F5344CB8AC3E}">
        <p14:creationId xmlns:p14="http://schemas.microsoft.com/office/powerpoint/2010/main" val="25450115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4785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52575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78891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21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47" Type="http://schemas.openxmlformats.org/officeDocument/2006/relationships/slideLayout" Target="../slideLayouts/slideLayout57.xml"/><Relationship Id="rId50" Type="http://schemas.openxmlformats.org/officeDocument/2006/relationships/theme" Target="../theme/theme2.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slideLayout" Target="../slideLayouts/slideLayout55.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slideLayout" Target="../slideLayouts/slideLayout59.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52" Type="http://schemas.openxmlformats.org/officeDocument/2006/relationships/image" Target="../media/image3.pn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slideLayout" Target="../slideLayouts/slideLayout58.xml"/><Relationship Id="rId8" Type="http://schemas.openxmlformats.org/officeDocument/2006/relationships/slideLayout" Target="../slideLayouts/slideLayout18.xml"/><Relationship Id="rId51" Type="http://schemas.openxmlformats.org/officeDocument/2006/relationships/image" Target="../media/image2.emf"/><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slideLayout" Target="../slideLayouts/slideLayout56.xml"/><Relationship Id="rId20" Type="http://schemas.openxmlformats.org/officeDocument/2006/relationships/slideLayout" Target="../slideLayouts/slideLayout30.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62.xml"/><Relationship Id="rId7" Type="http://schemas.openxmlformats.org/officeDocument/2006/relationships/tags" Target="../tags/tag3.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65.xml"/><Relationship Id="rId7" Type="http://schemas.openxmlformats.org/officeDocument/2006/relationships/image" Target="../media/image2.emf"/><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4.xml"/><Relationship Id="rId5" Type="http://schemas.openxmlformats.org/officeDocument/2006/relationships/slideLayout" Target="../slideLayouts/slideLayout67.xml"/><Relationship Id="rId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8.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Intelligent Query Processing</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798" r:id="rId5"/>
    <p:sldLayoutId id="2147484870" r:id="rId6"/>
    <p:sldLayoutId id="2147484871" r:id="rId7"/>
    <p:sldLayoutId id="2147484872" r:id="rId8"/>
    <p:sldLayoutId id="2147484873" r:id="rId9"/>
    <p:sldLayoutId id="2147484934" r:id="rId10"/>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52123196"/>
      </p:ext>
    </p:extLst>
  </p:cSld>
  <p:clrMap bg1="lt1" tx1="dk1" bg2="lt2" tx2="dk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 id="2147484914" r:id="rId40"/>
    <p:sldLayoutId id="2147484915" r:id="rId41"/>
    <p:sldLayoutId id="2147484916" r:id="rId42"/>
    <p:sldLayoutId id="2147484917" r:id="rId43"/>
    <p:sldLayoutId id="2147484918" r:id="rId44"/>
    <p:sldLayoutId id="2147484919" r:id="rId45"/>
    <p:sldLayoutId id="2147484920" r:id="rId46"/>
    <p:sldLayoutId id="2147484921" r:id="rId47"/>
    <p:sldLayoutId id="2147484922" r:id="rId48"/>
    <p:sldLayoutId id="2147484923"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20049"/>
      </p:ext>
    </p:extLst>
  </p:cSld>
  <p:clrMap bg1="lt1" tx1="dk1" bg2="lt2" tx2="dk2" accent1="accent1" accent2="accent2" accent3="accent3" accent4="accent4" accent5="accent5" accent6="accent6" hlink="hlink" folHlink="folHlink"/>
  <p:sldLayoutIdLst>
    <p:sldLayoutId id="2147484925" r:id="rId1"/>
    <p:sldLayoutId id="2147484926" r:id="rId2"/>
    <p:sldLayoutId id="2147484952" r:id="rId3"/>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98473155"/>
      </p:ext>
    </p:extLst>
  </p:cSld>
  <p:clrMap bg1="lt1" tx1="dk1" bg2="lt2" tx2="dk2" accent1="accent1" accent2="accent2" accent3="accent3" accent4="accent4" accent5="accent5" accent6="accent6" hlink="hlink" folHlink="folHlink"/>
  <p:sldLayoutIdLst>
    <p:sldLayoutId id="2147484928" r:id="rId1"/>
    <p:sldLayoutId id="2147484929" r:id="rId2"/>
    <p:sldLayoutId id="2147484931" r:id="rId3"/>
    <p:sldLayoutId id="2147484932" r:id="rId4"/>
    <p:sldLayoutId id="2147484933" r:id="rId5"/>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rot="5400000">
            <a:off x="9288988" y="2942645"/>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7955767"/>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Lst>
  <p:transition>
    <p:fade/>
  </p:transition>
  <p:hf sldNum="0" hdr="0" ftr="0" dt="0"/>
  <p:txStyles>
    <p:titleStyle>
      <a:lvl1pPr algn="l" defTabSz="932089" rtl="0" eaLnBrk="1" latinLnBrk="0" hangingPunct="1">
        <a:lnSpc>
          <a:spcPct val="100000"/>
        </a:lnSpc>
        <a:spcBef>
          <a:spcPct val="0"/>
        </a:spcBef>
        <a:spcAft>
          <a:spcPts val="1199"/>
        </a:spcAft>
        <a:buNone/>
        <a:defRPr lang="en-US" sz="3597"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44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8"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688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6765" marR="0" indent="-199885"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99" kern="1200" spc="0" baseline="0">
          <a:gradFill>
            <a:gsLst>
              <a:gs pos="1250">
                <a:schemeClr val="tx1"/>
              </a:gs>
              <a:gs pos="100000">
                <a:schemeClr val="tx1"/>
              </a:gs>
            </a:gsLst>
            <a:lin ang="5400000" scaled="0"/>
          </a:gradFill>
          <a:latin typeface="+mn-lt"/>
          <a:ea typeface="+mn-ea"/>
          <a:cs typeface="+mn-cs"/>
        </a:defRPr>
      </a:lvl3pPr>
      <a:lvl4pPr marL="842373" marR="0" indent="-180848"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4pPr>
      <a:lvl5pPr marL="1023221" marR="0" indent="-168157"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5pPr>
      <a:lvl6pPr marL="2563244"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29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5335"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138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089" rtl="0" eaLnBrk="1" latinLnBrk="0" hangingPunct="1">
        <a:defRPr sz="1799" kern="1200">
          <a:solidFill>
            <a:schemeClr val="tx1"/>
          </a:solidFill>
          <a:latin typeface="+mn-lt"/>
          <a:ea typeface="+mn-ea"/>
          <a:cs typeface="+mn-cs"/>
        </a:defRPr>
      </a:lvl1pPr>
      <a:lvl2pPr marL="466045" algn="l" defTabSz="932089" rtl="0" eaLnBrk="1" latinLnBrk="0" hangingPunct="1">
        <a:defRPr sz="1799" kern="1200">
          <a:solidFill>
            <a:schemeClr val="tx1"/>
          </a:solidFill>
          <a:latin typeface="+mn-lt"/>
          <a:ea typeface="+mn-ea"/>
          <a:cs typeface="+mn-cs"/>
        </a:defRPr>
      </a:lvl2pPr>
      <a:lvl3pPr marL="932089" algn="l" defTabSz="932089" rtl="0" eaLnBrk="1" latinLnBrk="0" hangingPunct="1">
        <a:defRPr sz="1799" kern="1200">
          <a:solidFill>
            <a:schemeClr val="tx1"/>
          </a:solidFill>
          <a:latin typeface="+mn-lt"/>
          <a:ea typeface="+mn-ea"/>
          <a:cs typeface="+mn-cs"/>
        </a:defRPr>
      </a:lvl3pPr>
      <a:lvl4pPr marL="1398134" algn="l" defTabSz="932089" rtl="0" eaLnBrk="1" latinLnBrk="0" hangingPunct="1">
        <a:defRPr sz="1799" kern="1200">
          <a:solidFill>
            <a:schemeClr val="tx1"/>
          </a:solidFill>
          <a:latin typeface="+mn-lt"/>
          <a:ea typeface="+mn-ea"/>
          <a:cs typeface="+mn-cs"/>
        </a:defRPr>
      </a:lvl4pPr>
      <a:lvl5pPr marL="1864178" algn="l" defTabSz="932089" rtl="0" eaLnBrk="1" latinLnBrk="0" hangingPunct="1">
        <a:defRPr sz="1799" kern="1200">
          <a:solidFill>
            <a:schemeClr val="tx1"/>
          </a:solidFill>
          <a:latin typeface="+mn-lt"/>
          <a:ea typeface="+mn-ea"/>
          <a:cs typeface="+mn-cs"/>
        </a:defRPr>
      </a:lvl5pPr>
      <a:lvl6pPr marL="2330224" algn="l" defTabSz="932089" rtl="0" eaLnBrk="1" latinLnBrk="0" hangingPunct="1">
        <a:defRPr sz="1799" kern="1200">
          <a:solidFill>
            <a:schemeClr val="tx1"/>
          </a:solidFill>
          <a:latin typeface="+mn-lt"/>
          <a:ea typeface="+mn-ea"/>
          <a:cs typeface="+mn-cs"/>
        </a:defRPr>
      </a:lvl6pPr>
      <a:lvl7pPr marL="2796267" algn="l" defTabSz="932089" rtl="0" eaLnBrk="1" latinLnBrk="0" hangingPunct="1">
        <a:defRPr sz="1799" kern="1200">
          <a:solidFill>
            <a:schemeClr val="tx1"/>
          </a:solidFill>
          <a:latin typeface="+mn-lt"/>
          <a:ea typeface="+mn-ea"/>
          <a:cs typeface="+mn-cs"/>
        </a:defRPr>
      </a:lvl7pPr>
      <a:lvl8pPr marL="3262312" algn="l" defTabSz="932089" rtl="0" eaLnBrk="1" latinLnBrk="0" hangingPunct="1">
        <a:defRPr sz="1799" kern="1200">
          <a:solidFill>
            <a:schemeClr val="tx1"/>
          </a:solidFill>
          <a:latin typeface="+mn-lt"/>
          <a:ea typeface="+mn-ea"/>
          <a:cs typeface="+mn-cs"/>
        </a:defRPr>
      </a:lvl8pPr>
      <a:lvl9pPr marL="3728357" algn="l" defTabSz="932089"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diagramData" Target="../diagrams/data11.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17" Type="http://schemas.microsoft.com/office/2007/relationships/diagramDrawing" Target="../diagrams/drawing11.xml"/><Relationship Id="rId2" Type="http://schemas.openxmlformats.org/officeDocument/2006/relationships/notesSlide" Target="../notesSlides/notesSlide9.xml"/><Relationship Id="rId16" Type="http://schemas.openxmlformats.org/officeDocument/2006/relationships/diagramColors" Target="../diagrams/colors11.xml"/><Relationship Id="rId1" Type="http://schemas.openxmlformats.org/officeDocument/2006/relationships/slideLayout" Target="../slideLayouts/slideLayout5.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5" Type="http://schemas.openxmlformats.org/officeDocument/2006/relationships/diagramQuickStyle" Target="../diagrams/quickStyle11.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 Id="rId14" Type="http://schemas.openxmlformats.org/officeDocument/2006/relationships/diagramLayout" Target="../diagrams/layout11.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3.xml"/><Relationship Id="rId13" Type="http://schemas.openxmlformats.org/officeDocument/2006/relationships/diagramData" Target="../diagrams/data14.xml"/><Relationship Id="rId3" Type="http://schemas.openxmlformats.org/officeDocument/2006/relationships/diagramData" Target="../diagrams/data12.xml"/><Relationship Id="rId7" Type="http://schemas.microsoft.com/office/2007/relationships/diagramDrawing" Target="../diagrams/drawing12.xml"/><Relationship Id="rId12" Type="http://schemas.microsoft.com/office/2007/relationships/diagramDrawing" Target="../diagrams/drawing13.xml"/><Relationship Id="rId17" Type="http://schemas.microsoft.com/office/2007/relationships/diagramDrawing" Target="../diagrams/drawing14.xml"/><Relationship Id="rId2" Type="http://schemas.openxmlformats.org/officeDocument/2006/relationships/notesSlide" Target="../notesSlides/notesSlide10.xml"/><Relationship Id="rId16" Type="http://schemas.openxmlformats.org/officeDocument/2006/relationships/diagramColors" Target="../diagrams/colors14.xml"/><Relationship Id="rId1" Type="http://schemas.openxmlformats.org/officeDocument/2006/relationships/slideLayout" Target="../slideLayouts/slideLayout5.xml"/><Relationship Id="rId6" Type="http://schemas.openxmlformats.org/officeDocument/2006/relationships/diagramColors" Target="../diagrams/colors12.xml"/><Relationship Id="rId11" Type="http://schemas.openxmlformats.org/officeDocument/2006/relationships/diagramColors" Target="../diagrams/colors13.xml"/><Relationship Id="rId5" Type="http://schemas.openxmlformats.org/officeDocument/2006/relationships/diagramQuickStyle" Target="../diagrams/quickStyle12.xml"/><Relationship Id="rId15" Type="http://schemas.openxmlformats.org/officeDocument/2006/relationships/diagramQuickStyle" Target="../diagrams/quickStyle14.xml"/><Relationship Id="rId10" Type="http://schemas.openxmlformats.org/officeDocument/2006/relationships/diagramQuickStyle" Target="../diagrams/quickStyle13.xml"/><Relationship Id="rId4" Type="http://schemas.openxmlformats.org/officeDocument/2006/relationships/diagramLayout" Target="../diagrams/layout12.xml"/><Relationship Id="rId9" Type="http://schemas.openxmlformats.org/officeDocument/2006/relationships/diagramLayout" Target="../diagrams/layout13.xml"/><Relationship Id="rId14" Type="http://schemas.openxmlformats.org/officeDocument/2006/relationships/diagramLayout" Target="../diagrams/layout1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6.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xml"/><Relationship Id="rId7" Type="http://schemas.openxmlformats.org/officeDocument/2006/relationships/image" Target="../media/image23.png"/><Relationship Id="rId2" Type="http://schemas.openxmlformats.org/officeDocument/2006/relationships/slideLayout" Target="../slideLayouts/slideLayout60.xml"/><Relationship Id="rId1" Type="http://schemas.openxmlformats.org/officeDocument/2006/relationships/tags" Target="../tags/tag4.xml"/><Relationship Id="rId6" Type="http://schemas.openxmlformats.org/officeDocument/2006/relationships/image" Target="../media/image22.jp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18" Type="http://schemas.openxmlformats.org/officeDocument/2006/relationships/diagramData" Target="../diagrams/data8.xml"/><Relationship Id="rId3" Type="http://schemas.openxmlformats.org/officeDocument/2006/relationships/diagramData" Target="../diagrams/data5.xml"/><Relationship Id="rId21" Type="http://schemas.openxmlformats.org/officeDocument/2006/relationships/diagramColors" Target="../diagrams/colors8.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8.xml"/><Relationship Id="rId16" Type="http://schemas.openxmlformats.org/officeDocument/2006/relationships/diagramColors" Target="../diagrams/colors7.xml"/><Relationship Id="rId20" Type="http://schemas.openxmlformats.org/officeDocument/2006/relationships/diagramQuickStyle" Target="../diagrams/quickStyle8.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19" Type="http://schemas.openxmlformats.org/officeDocument/2006/relationships/diagramLayout" Target="../diagrams/layout8.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 Id="rId22" Type="http://schemas.microsoft.com/office/2007/relationships/diagramDrawing" Target="../diagrams/drawin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3165552"/>
            <a:ext cx="5199473" cy="1329595"/>
          </a:xfrm>
        </p:spPr>
        <p:txBody>
          <a:bodyPr/>
          <a:lstStyle/>
          <a:p>
            <a:r>
              <a:rPr lang="en-US" dirty="0"/>
              <a:t>Introduction to </a:t>
            </a:r>
            <a:br>
              <a:rPr lang="en-US" dirty="0"/>
            </a:br>
            <a:r>
              <a:rPr lang="en-US" dirty="0"/>
              <a:t>Optimized Plan Forcing</a:t>
            </a:r>
            <a:br>
              <a:rPr lang="en-US" dirty="0"/>
            </a:br>
            <a:endParaRPr lang="en-US" dirty="0"/>
          </a:p>
        </p:txBody>
      </p:sp>
      <p:sp>
        <p:nvSpPr>
          <p:cNvPr id="3" name="Title 1">
            <a:extLst>
              <a:ext uri="{FF2B5EF4-FFF2-40B4-BE49-F238E27FC236}">
                <a16:creationId xmlns:a16="http://schemas.microsoft.com/office/drawing/2014/main" id="{2D7DCE8A-E71F-C224-3A7D-49E1051B4CDB}"/>
              </a:ext>
            </a:extLst>
          </p:cNvPr>
          <p:cNvSpPr txBox="1">
            <a:spLocks/>
          </p:cNvSpPr>
          <p:nvPr/>
        </p:nvSpPr>
        <p:spPr>
          <a:xfrm>
            <a:off x="496113" y="5006292"/>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extLst>
              <p:ext uri="{D42A27DB-BD31-4B8C-83A1-F6EECF244321}">
                <p14:modId xmlns:p14="http://schemas.microsoft.com/office/powerpoint/2010/main" val="1638426914"/>
              </p:ext>
            </p:extLst>
          </p:nvPr>
        </p:nvGraphicFramePr>
        <p:xfrm>
          <a:off x="338894" y="932329"/>
          <a:ext cx="11144474" cy="517263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7930199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extLst>
              <p:ext uri="{D42A27DB-BD31-4B8C-83A1-F6EECF244321}">
                <p14:modId xmlns:p14="http://schemas.microsoft.com/office/powerpoint/2010/main" val="1628709979"/>
              </p:ext>
            </p:extLst>
          </p:nvPr>
        </p:nvGraphicFramePr>
        <p:xfrm>
          <a:off x="338894" y="932329"/>
          <a:ext cx="11144474" cy="517263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5766562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Feature Family</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3884340729"/>
              </p:ext>
            </p:extLst>
          </p:nvPr>
        </p:nvGraphicFramePr>
        <p:xfrm>
          <a:off x="134619" y="-252919"/>
          <a:ext cx="11922762" cy="71109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22</a:t>
            </a:r>
          </a:p>
        </p:txBody>
      </p:sp>
      <p:sp>
        <p:nvSpPr>
          <p:cNvPr id="3" name="Rectangle: Rounded Corners 2">
            <a:extLst>
              <a:ext uri="{FF2B5EF4-FFF2-40B4-BE49-F238E27FC236}">
                <a16:creationId xmlns:a16="http://schemas.microsoft.com/office/drawing/2014/main" id="{3BF089EA-D1A6-060D-AA46-FD3698C1B994}"/>
              </a:ext>
            </a:extLst>
          </p:cNvPr>
          <p:cNvSpPr/>
          <p:nvPr/>
        </p:nvSpPr>
        <p:spPr>
          <a:xfrm>
            <a:off x="9596582" y="2438400"/>
            <a:ext cx="1136074" cy="738910"/>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76186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75C3E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895DE7-8142-4F4B-A6BC-24319628C14F}"/>
              </a:ext>
            </a:extLst>
          </p:cNvPr>
          <p:cNvSpPr/>
          <p:nvPr/>
        </p:nvSpPr>
        <p:spPr bwMode="auto">
          <a:xfrm>
            <a:off x="269524" y="690282"/>
            <a:ext cx="11748763" cy="36307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2"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8" name="TextBox 7">
            <a:extLst>
              <a:ext uri="{FF2B5EF4-FFF2-40B4-BE49-F238E27FC236}">
                <a16:creationId xmlns:a16="http://schemas.microsoft.com/office/drawing/2014/main" id="{26025B8D-586C-40E2-813B-D44DD4CA4556}"/>
              </a:ext>
            </a:extLst>
          </p:cNvPr>
          <p:cNvSpPr txBox="1"/>
          <p:nvPr/>
        </p:nvSpPr>
        <p:spPr>
          <a:xfrm>
            <a:off x="3729614" y="735920"/>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itHub: github.com\SQLMCT</a:t>
            </a:r>
          </a:p>
        </p:txBody>
      </p:sp>
      <p:pic>
        <p:nvPicPr>
          <p:cNvPr id="14" name="Picture 13" descr="A person wearing glasses and looking at the camera&#10;&#10;Description automatically generated">
            <a:extLst>
              <a:ext uri="{FF2B5EF4-FFF2-40B4-BE49-F238E27FC236}">
                <a16:creationId xmlns:a16="http://schemas.microsoft.com/office/drawing/2014/main" id="{4BF1FCD6-B874-43C1-B7DC-00D8BA759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275"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2">
            <a:extLst>
              <a:ext uri="{FF2B5EF4-FFF2-40B4-BE49-F238E27FC236}">
                <a16:creationId xmlns:a16="http://schemas.microsoft.com/office/drawing/2014/main" id="{BA556E9C-C257-46F8-806F-23A52BB5A3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1BCF9874-B55B-4EFC-BBD2-EC31BB5138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CD6C68E0-AA3D-4089-A9D8-76DB3F1D13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25638B0-3CDF-4AA9-9C43-F417F187C4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279329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What is in the session?</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extLst>
              <p:ext uri="{D42A27DB-BD31-4B8C-83A1-F6EECF244321}">
                <p14:modId xmlns:p14="http://schemas.microsoft.com/office/powerpoint/2010/main" val="1007129538"/>
              </p:ext>
            </p:extLst>
          </p:nvPr>
        </p:nvGraphicFramePr>
        <p:xfrm>
          <a:off x="655638" y="1011676"/>
          <a:ext cx="10880725" cy="55262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04642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3455734179"/>
              </p:ext>
            </p:extLst>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algn="ctr"/>
            <a:r>
              <a:rPr lang="en-US" dirty="0">
                <a:solidFill>
                  <a:schemeClr val="bg1"/>
                </a:solidFill>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endParaRPr lang="en-US" dirty="0"/>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solidFill>
                  <a:schemeClr val="tx1"/>
                </a:solidFill>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algn="ctr"/>
            <a:r>
              <a:rPr lang="en-US" dirty="0">
                <a:solidFill>
                  <a:schemeClr val="bg1"/>
                </a:solidFill>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algn="ctr"/>
            <a:r>
              <a:rPr lang="en-US" dirty="0">
                <a:solidFill>
                  <a:schemeClr val="bg1"/>
                </a:solidFill>
              </a:rPr>
              <a:t>2022</a:t>
            </a:r>
          </a:p>
        </p:txBody>
      </p:sp>
    </p:spTree>
    <p:extLst>
      <p:ext uri="{BB962C8B-B14F-4D97-AF65-F5344CB8AC3E}">
        <p14:creationId xmlns:p14="http://schemas.microsoft.com/office/powerpoint/2010/main" val="4545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Instance Level</a:t>
            </a:r>
          </a:p>
        </p:txBody>
      </p:sp>
      <p:graphicFrame>
        <p:nvGraphicFramePr>
          <p:cNvPr id="2" name="Diagram 1">
            <a:extLst>
              <a:ext uri="{FF2B5EF4-FFF2-40B4-BE49-F238E27FC236}">
                <a16:creationId xmlns:a16="http://schemas.microsoft.com/office/drawing/2014/main" id="{A3F703EF-4406-0849-9267-50C04D501408}"/>
              </a:ext>
            </a:extLst>
          </p:cNvPr>
          <p:cNvGraphicFramePr/>
          <p:nvPr>
            <p:extLst>
              <p:ext uri="{D42A27DB-BD31-4B8C-83A1-F6EECF244321}">
                <p14:modId xmlns:p14="http://schemas.microsoft.com/office/powerpoint/2010/main" val="710535984"/>
              </p:ext>
            </p:extLst>
          </p:nvPr>
        </p:nvGraphicFramePr>
        <p:xfrm>
          <a:off x="269238" y="1108303"/>
          <a:ext cx="11546244" cy="5005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5833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Database Level</a:t>
            </a:r>
          </a:p>
        </p:txBody>
      </p:sp>
      <p:sp>
        <p:nvSpPr>
          <p:cNvPr id="8" name="Rectangle 7">
            <a:extLst>
              <a:ext uri="{FF2B5EF4-FFF2-40B4-BE49-F238E27FC236}">
                <a16:creationId xmlns:a16="http://schemas.microsoft.com/office/drawing/2014/main" id="{E87CA332-0A98-47A2-A23B-F3DD2B6B6F7C}"/>
              </a:ext>
            </a:extLst>
          </p:cNvPr>
          <p:cNvSpPr/>
          <p:nvPr/>
        </p:nvSpPr>
        <p:spPr>
          <a:xfrm>
            <a:off x="366516" y="1380333"/>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ISABLE_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9" name="Rectangle 8">
            <a:extLst>
              <a:ext uri="{FF2B5EF4-FFF2-40B4-BE49-F238E27FC236}">
                <a16:creationId xmlns:a16="http://schemas.microsoft.com/office/drawing/2014/main" id="{F8948C42-E3EE-42C8-AB1C-9B48B5641AD7}"/>
              </a:ext>
            </a:extLst>
          </p:cNvPr>
          <p:cNvSpPr/>
          <p:nvPr/>
        </p:nvSpPr>
        <p:spPr>
          <a:xfrm>
            <a:off x="366516" y="19794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2" name="Content Placeholder 3">
            <a:extLst>
              <a:ext uri="{FF2B5EF4-FFF2-40B4-BE49-F238E27FC236}">
                <a16:creationId xmlns:a16="http://schemas.microsoft.com/office/drawing/2014/main" id="{5302B98C-991B-4EC1-A910-70B6E4583027}"/>
              </a:ext>
            </a:extLst>
          </p:cNvPr>
          <p:cNvSpPr txBox="1">
            <a:spLocks/>
          </p:cNvSpPr>
          <p:nvPr/>
        </p:nvSpPr>
        <p:spPr>
          <a:xfrm>
            <a:off x="269239" y="912430"/>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Different settings for 2017 vs Azure SQL, SQL Server 2019 and higher</a:t>
            </a:r>
          </a:p>
        </p:txBody>
      </p:sp>
      <p:pic>
        <p:nvPicPr>
          <p:cNvPr id="6" name="Picture 5">
            <a:extLst>
              <a:ext uri="{FF2B5EF4-FFF2-40B4-BE49-F238E27FC236}">
                <a16:creationId xmlns:a16="http://schemas.microsoft.com/office/drawing/2014/main" id="{627D0D4B-C7C8-CE62-FC64-8607BAC99CF3}"/>
              </a:ext>
            </a:extLst>
          </p:cNvPr>
          <p:cNvPicPr>
            <a:picLocks noChangeAspect="1"/>
          </p:cNvPicPr>
          <p:nvPr/>
        </p:nvPicPr>
        <p:blipFill>
          <a:blip r:embed="rId3"/>
          <a:stretch>
            <a:fillRect/>
          </a:stretch>
        </p:blipFill>
        <p:spPr>
          <a:xfrm>
            <a:off x="3195863" y="3676840"/>
            <a:ext cx="5373501" cy="2544406"/>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F5126A6-AFD7-AACE-460C-1C13A2C03B35}"/>
              </a:ext>
            </a:extLst>
          </p:cNvPr>
          <p:cNvSpPr/>
          <p:nvPr/>
        </p:nvSpPr>
        <p:spPr>
          <a:xfrm>
            <a:off x="366516" y="3030287"/>
            <a:ext cx="10880725" cy="461665"/>
          </a:xfrm>
          <a:prstGeom prst="rect">
            <a:avLst/>
          </a:prstGeom>
          <a:ln>
            <a:solidFill>
              <a:schemeClr val="accent1"/>
            </a:solidFill>
          </a:ln>
          <a:effectLst/>
        </p:spPr>
        <p:txBody>
          <a:bodyPr wrap="square">
            <a:noAutofit/>
          </a:bodyPr>
          <a:lstStyle/>
          <a:p>
            <a:pPr>
              <a:defRPr/>
            </a:pPr>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chemeClr val="accent6">
                    <a:lumMod val="50000"/>
                  </a:schemeClr>
                </a:solidFill>
                <a:latin typeface="Consolas" panose="020B0609020204030204" pitchFamily="49" charset="0"/>
              </a:rPr>
              <a:t>sys.database_scoped_configuratio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8" name="Content Placeholder 3">
            <a:extLst>
              <a:ext uri="{FF2B5EF4-FFF2-40B4-BE49-F238E27FC236}">
                <a16:creationId xmlns:a16="http://schemas.microsoft.com/office/drawing/2014/main" id="{3A58E64D-6028-810B-C559-6CD5A5A43E1C}"/>
              </a:ext>
            </a:extLst>
          </p:cNvPr>
          <p:cNvSpPr txBox="1">
            <a:spLocks/>
          </p:cNvSpPr>
          <p:nvPr/>
        </p:nvSpPr>
        <p:spPr>
          <a:xfrm>
            <a:off x="320478" y="2528586"/>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Database Scoped Configuration setting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23035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824150" cy="1143000"/>
          </a:xfrm>
        </p:spPr>
        <p:txBody>
          <a:bodyPr/>
          <a:lstStyle/>
          <a:p>
            <a:r>
              <a:rPr lang="en-US" dirty="0"/>
              <a:t>Enabling and Disabling – Statement Level</a:t>
            </a:r>
          </a:p>
        </p:txBody>
      </p:sp>
      <p:sp>
        <p:nvSpPr>
          <p:cNvPr id="10" name="Rectangle 9">
            <a:extLst>
              <a:ext uri="{FF2B5EF4-FFF2-40B4-BE49-F238E27FC236}">
                <a16:creationId xmlns:a16="http://schemas.microsoft.com/office/drawing/2014/main" id="{0665CE9E-5D61-45F3-9D4E-8F9C03FF9346}"/>
              </a:ext>
            </a:extLst>
          </p:cNvPr>
          <p:cNvSpPr/>
          <p:nvPr/>
        </p:nvSpPr>
        <p:spPr>
          <a:xfrm>
            <a:off x="384444" y="1423989"/>
            <a:ext cx="10880725" cy="696189"/>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lt;statemen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IN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DISABLE_BATCH_MODE_ADAPTIVE_JOI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6" name="Content Placeholder 3">
            <a:extLst>
              <a:ext uri="{FF2B5EF4-FFF2-40B4-BE49-F238E27FC236}">
                <a16:creationId xmlns:a16="http://schemas.microsoft.com/office/drawing/2014/main" id="{8F0F5418-94D3-40D4-AF8D-94BC66BE8CE6}"/>
              </a:ext>
            </a:extLst>
          </p:cNvPr>
          <p:cNvSpPr txBox="1">
            <a:spLocks/>
          </p:cNvSpPr>
          <p:nvPr/>
        </p:nvSpPr>
        <p:spPr>
          <a:xfrm>
            <a:off x="384444" y="962323"/>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You can disable </a:t>
            </a:r>
            <a:r>
              <a:rPr lang="en-US" dirty="0">
                <a:latin typeface="Segoe UI"/>
              </a:rPr>
              <a:t>features</a:t>
            </a:r>
            <a:r>
              <a:rPr kumimoji="0" lang="en-US" sz="2400" b="0" i="0" u="none" strike="noStrike" kern="1200" cap="none" spc="0" normalizeH="0" baseline="0" noProof="0" dirty="0">
                <a:ln>
                  <a:noFill/>
                </a:ln>
                <a:solidFill>
                  <a:srgbClr val="404040"/>
                </a:solidFill>
                <a:effectLst/>
                <a:uLnTx/>
                <a:uFillTx/>
                <a:latin typeface="Segoe UI"/>
                <a:ea typeface="+mn-ea"/>
                <a:cs typeface="+mn-cs"/>
              </a:rPr>
              <a:t> at the statement scope if necessary.</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4DC5D965-CC3D-FF89-C92A-D96C4523B10D}"/>
              </a:ext>
            </a:extLst>
          </p:cNvPr>
          <p:cNvSpPr/>
          <p:nvPr/>
        </p:nvSpPr>
        <p:spPr>
          <a:xfrm>
            <a:off x="338408" y="2772846"/>
            <a:ext cx="10880725" cy="461665"/>
          </a:xfrm>
          <a:prstGeom prst="rect">
            <a:avLst/>
          </a:prstGeom>
          <a:ln>
            <a:solidFill>
              <a:schemeClr val="accent1"/>
            </a:solidFill>
          </a:ln>
          <a:effectLst/>
        </p:spPr>
        <p:txBody>
          <a:bodyPr wrap="square">
            <a:noAutofit/>
          </a:bodyPr>
          <a:lstStyle/>
          <a:p>
            <a:pPr>
              <a:defRPr/>
            </a:pPr>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chemeClr val="accent6">
                    <a:lumMod val="50000"/>
                  </a:schemeClr>
                </a:solidFill>
                <a:latin typeface="Consolas" panose="020B0609020204030204" pitchFamily="49" charset="0"/>
              </a:rPr>
              <a:t>sys.dm_exec_valid_use_hint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3" name="Content Placeholder 3">
            <a:extLst>
              <a:ext uri="{FF2B5EF4-FFF2-40B4-BE49-F238E27FC236}">
                <a16:creationId xmlns:a16="http://schemas.microsoft.com/office/drawing/2014/main" id="{4FABCB0E-57A1-B0FC-D699-B56FEFB762BB}"/>
              </a:ext>
            </a:extLst>
          </p:cNvPr>
          <p:cNvSpPr txBox="1">
            <a:spLocks/>
          </p:cNvSpPr>
          <p:nvPr/>
        </p:nvSpPr>
        <p:spPr>
          <a:xfrm>
            <a:off x="292370" y="2271145"/>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valid query use hint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7" name="Picture 6" descr="Text&#10;&#10;Description automatically generated">
            <a:extLst>
              <a:ext uri="{FF2B5EF4-FFF2-40B4-BE49-F238E27FC236}">
                <a16:creationId xmlns:a16="http://schemas.microsoft.com/office/drawing/2014/main" id="{2C1CF975-373F-F8BB-BE11-E76F338FF1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660" y="3429000"/>
            <a:ext cx="5104680" cy="29538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6169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7" y="174885"/>
            <a:ext cx="11539223" cy="1143000"/>
          </a:xfrm>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590023791"/>
              </p:ext>
            </p:extLst>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B68DA2F8-C18C-0B52-2F15-754E56F99CB5}"/>
              </a:ext>
            </a:extLst>
          </p:cNvPr>
          <p:cNvSpPr/>
          <p:nvPr/>
        </p:nvSpPr>
        <p:spPr>
          <a:xfrm>
            <a:off x="8073957" y="2840668"/>
            <a:ext cx="1867711" cy="1361681"/>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81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Optimized Plan Forc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extLst>
              <p:ext uri="{D42A27DB-BD31-4B8C-83A1-F6EECF244321}">
                <p14:modId xmlns:p14="http://schemas.microsoft.com/office/powerpoint/2010/main" val="3165624598"/>
              </p:ext>
            </p:extLst>
          </p:nvPr>
        </p:nvGraphicFramePr>
        <p:xfrm>
          <a:off x="523763" y="865331"/>
          <a:ext cx="11144474" cy="22587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6" name="Diagram 5">
            <a:extLst>
              <a:ext uri="{FF2B5EF4-FFF2-40B4-BE49-F238E27FC236}">
                <a16:creationId xmlns:a16="http://schemas.microsoft.com/office/drawing/2014/main" id="{16222040-5B02-D4C9-1C1B-7A1A92385BB6}"/>
              </a:ext>
            </a:extLst>
          </p:cNvPr>
          <p:cNvGraphicFramePr/>
          <p:nvPr>
            <p:extLst>
              <p:ext uri="{D42A27DB-BD31-4B8C-83A1-F6EECF244321}">
                <p14:modId xmlns:p14="http://schemas.microsoft.com/office/powerpoint/2010/main" val="1610607907"/>
              </p:ext>
            </p:extLst>
          </p:nvPr>
        </p:nvGraphicFramePr>
        <p:xfrm>
          <a:off x="2449648" y="3135328"/>
          <a:ext cx="6862398" cy="3424444"/>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2629753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1_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368</Words>
  <Application>Microsoft Office PowerPoint</Application>
  <PresentationFormat>Widescreen</PresentationFormat>
  <Paragraphs>157</Paragraphs>
  <Slides>14</Slides>
  <Notes>12</Notes>
  <HiddenSlides>3</HiddenSlides>
  <MMClips>0</MMClips>
  <ScaleCrop>false</ScaleCrop>
  <HeadingPairs>
    <vt:vector size="6" baseType="variant">
      <vt:variant>
        <vt:lpstr>Fonts Used</vt:lpstr>
      </vt:variant>
      <vt:variant>
        <vt:i4>9</vt:i4>
      </vt:variant>
      <vt:variant>
        <vt:lpstr>Theme</vt:lpstr>
      </vt:variant>
      <vt:variant>
        <vt:i4>5</vt:i4>
      </vt:variant>
      <vt:variant>
        <vt:lpstr>Slide Titles</vt:lpstr>
      </vt:variant>
      <vt:variant>
        <vt:i4>14</vt:i4>
      </vt:variant>
    </vt:vector>
  </HeadingPairs>
  <TitlesOfParts>
    <vt:vector size="28" baseType="lpstr">
      <vt:lpstr>Arial</vt:lpstr>
      <vt:lpstr>Calibri</vt:lpstr>
      <vt:lpstr>Century Gothic</vt:lpstr>
      <vt:lpstr>Consolas</vt:lpstr>
      <vt:lpstr>Lucida Console</vt:lpstr>
      <vt:lpstr>Segoe UI</vt:lpstr>
      <vt:lpstr>Segoe UI Semibold</vt:lpstr>
      <vt:lpstr>Segoe UI Semilight</vt:lpstr>
      <vt:lpstr>Wingdings</vt:lpstr>
      <vt:lpstr>PASS 2013_SpeakerTemplate_Final</vt:lpstr>
      <vt:lpstr>Microsoft 365 PPT Template - 2018</vt:lpstr>
      <vt:lpstr>1_Dark Blue</vt:lpstr>
      <vt:lpstr>1_Microsoft 365 PPT Template - 2018</vt:lpstr>
      <vt:lpstr>5-50203_Microsoft_Ignite_Template</vt:lpstr>
      <vt:lpstr>Introduction to  Optimized Plan Forcing </vt:lpstr>
      <vt:lpstr>PowerPoint Presentation</vt:lpstr>
      <vt:lpstr>What is in the session?</vt:lpstr>
      <vt:lpstr>Intelligent Query Processing (2022)</vt:lpstr>
      <vt:lpstr>Enabling and Disabling – Instance Level</vt:lpstr>
      <vt:lpstr>Enabling and Disabling – Database Level</vt:lpstr>
      <vt:lpstr>Enabling and Disabling – Statement Level</vt:lpstr>
      <vt:lpstr>Optimized Plan Forcing (2022)</vt:lpstr>
      <vt:lpstr>Optimized Plan Forcing (2022)</vt:lpstr>
      <vt:lpstr>Optimized Plan Forcing (2022)</vt:lpstr>
      <vt:lpstr>Optimized Plan Forcing (2022)</vt:lpstr>
      <vt:lpstr>Intelligent Query Processing Feature Famil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2-07-31T16:5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